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</p:sldMasterIdLst>
  <p:notesMasterIdLst>
    <p:notesMasterId r:id="rId7"/>
  </p:notesMasterIdLst>
  <p:sldIdLst>
    <p:sldId id="403" r:id="rId3"/>
    <p:sldId id="599" r:id="rId4"/>
    <p:sldId id="595" r:id="rId5"/>
    <p:sldId id="600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ph Stammel" initials="SS" lastIdx="10" clrIdx="0">
    <p:extLst>
      <p:ext uri="{19B8F6BF-5375-455C-9EA6-DF929625EA0E}">
        <p15:presenceInfo xmlns:p15="http://schemas.microsoft.com/office/powerpoint/2012/main" userId="S::sstammel@transurban.com::61e3e99a-d753-4586-bd2d-4fb9e5006cb0" providerId="AD"/>
      </p:ext>
    </p:extLst>
  </p:cmAuthor>
  <p:cmAuthor id="2" name="Jack Jin" initials="JJ" lastIdx="9" clrIdx="1">
    <p:extLst>
      <p:ext uri="{19B8F6BF-5375-455C-9EA6-DF929625EA0E}">
        <p15:presenceInfo xmlns:p15="http://schemas.microsoft.com/office/powerpoint/2012/main" userId="S::jjin@transurban.com.au::711eb42d-b07a-45ea-baa1-0b6a5a1abc4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E6E6E6"/>
    <a:srgbClr val="FFBA5F"/>
    <a:srgbClr val="00763B"/>
    <a:srgbClr val="5C4A78"/>
    <a:srgbClr val="D2AD7D"/>
    <a:srgbClr val="72FFB8"/>
    <a:srgbClr val="FFFFFF"/>
    <a:srgbClr val="EBEBEB"/>
    <a:srgbClr val="660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0283" autoAdjust="0"/>
  </p:normalViewPr>
  <p:slideViewPr>
    <p:cSldViewPr snapToGrid="0">
      <p:cViewPr varScale="1">
        <p:scale>
          <a:sx n="60" d="100"/>
          <a:sy n="60" d="100"/>
        </p:scale>
        <p:origin x="884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D0B6C2-1199-4DCF-88F4-8F862E2A108E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752E4E76-E420-4036-AB80-1DCEE2847895}">
      <dgm:prSet phldrT="[Text]" custT="1"/>
      <dgm:spPr/>
      <dgm:t>
        <a:bodyPr/>
        <a:lstStyle/>
        <a:p>
          <a:r>
            <a:rPr lang="en-AU" sz="1100" b="1"/>
            <a:t>Testing large no. of models</a:t>
          </a:r>
        </a:p>
      </dgm:t>
    </dgm:pt>
    <dgm:pt modelId="{9956D722-4001-4128-B2A9-6AE8C57B7DA7}" type="parTrans" cxnId="{FFC05E6E-E203-45CA-84AD-3EAA000E168A}">
      <dgm:prSet/>
      <dgm:spPr/>
      <dgm:t>
        <a:bodyPr/>
        <a:lstStyle/>
        <a:p>
          <a:endParaRPr lang="en-AU" sz="1100" b="1"/>
        </a:p>
      </dgm:t>
    </dgm:pt>
    <dgm:pt modelId="{BEF8ACFE-2DDB-4C03-AF84-9F73C3D41F99}" type="sibTrans" cxnId="{FFC05E6E-E203-45CA-84AD-3EAA000E168A}">
      <dgm:prSet/>
      <dgm:spPr/>
      <dgm:t>
        <a:bodyPr/>
        <a:lstStyle/>
        <a:p>
          <a:endParaRPr lang="en-AU" sz="1100" b="1"/>
        </a:p>
      </dgm:t>
    </dgm:pt>
    <dgm:pt modelId="{13AEABBA-721A-4CB4-9B05-CE980B473B64}">
      <dgm:prSet phldrT="[Text]" custT="1"/>
      <dgm:spPr/>
      <dgm:t>
        <a:bodyPr/>
        <a:lstStyle/>
        <a:p>
          <a:r>
            <a:rPr lang="en-AU" sz="1100" b="1"/>
            <a:t>Reproducibility</a:t>
          </a:r>
        </a:p>
      </dgm:t>
    </dgm:pt>
    <dgm:pt modelId="{134B8D22-3DB5-4DCC-8251-3AC475D4BD98}" type="parTrans" cxnId="{19F9B3BE-FBAD-4B13-B20D-0462F944D4A8}">
      <dgm:prSet/>
      <dgm:spPr/>
      <dgm:t>
        <a:bodyPr/>
        <a:lstStyle/>
        <a:p>
          <a:endParaRPr lang="en-AU" sz="1100" b="1"/>
        </a:p>
      </dgm:t>
    </dgm:pt>
    <dgm:pt modelId="{3CCDF914-A604-4360-B552-B3268F24E1D7}" type="sibTrans" cxnId="{19F9B3BE-FBAD-4B13-B20D-0462F944D4A8}">
      <dgm:prSet/>
      <dgm:spPr/>
      <dgm:t>
        <a:bodyPr/>
        <a:lstStyle/>
        <a:p>
          <a:endParaRPr lang="en-AU" sz="1100" b="1"/>
        </a:p>
      </dgm:t>
    </dgm:pt>
    <dgm:pt modelId="{86C22D1D-92A5-4C95-8159-16603B1BBC5D}">
      <dgm:prSet phldrT="[Text]" custT="1"/>
      <dgm:spPr/>
      <dgm:t>
        <a:bodyPr/>
        <a:lstStyle/>
        <a:p>
          <a:r>
            <a:rPr lang="en-AU" sz="1100" b="1"/>
            <a:t>Versioning</a:t>
          </a:r>
        </a:p>
      </dgm:t>
    </dgm:pt>
    <dgm:pt modelId="{AA78BB60-C4D5-49BB-880B-91C1A27A8B55}" type="parTrans" cxnId="{86E3DF6F-6902-4090-AD97-483314CEAF07}">
      <dgm:prSet/>
      <dgm:spPr/>
      <dgm:t>
        <a:bodyPr/>
        <a:lstStyle/>
        <a:p>
          <a:endParaRPr lang="en-AU" sz="1100" b="1"/>
        </a:p>
      </dgm:t>
    </dgm:pt>
    <dgm:pt modelId="{A1EE006E-1734-46D2-B2B7-492EE2C7CA9C}" type="sibTrans" cxnId="{86E3DF6F-6902-4090-AD97-483314CEAF07}">
      <dgm:prSet/>
      <dgm:spPr/>
      <dgm:t>
        <a:bodyPr/>
        <a:lstStyle/>
        <a:p>
          <a:endParaRPr lang="en-AU" sz="1100" b="1"/>
        </a:p>
      </dgm:t>
    </dgm:pt>
    <dgm:pt modelId="{8E954D98-A6B1-4905-B176-6EBBFEFD83F6}">
      <dgm:prSet phldrT="[Text]" custT="1"/>
      <dgm:spPr/>
      <dgm:t>
        <a:bodyPr/>
        <a:lstStyle/>
        <a:p>
          <a:r>
            <a:rPr lang="en-AU" sz="1100" b="1"/>
            <a:t>Communicating outcomes</a:t>
          </a:r>
        </a:p>
      </dgm:t>
    </dgm:pt>
    <dgm:pt modelId="{0594FE35-C6B3-4FB0-AB5C-37C796DE8083}" type="parTrans" cxnId="{DDE96847-8A2F-46D3-A15F-8E30FA41B8AB}">
      <dgm:prSet/>
      <dgm:spPr/>
      <dgm:t>
        <a:bodyPr/>
        <a:lstStyle/>
        <a:p>
          <a:endParaRPr lang="en-AU" sz="1100" b="1"/>
        </a:p>
      </dgm:t>
    </dgm:pt>
    <dgm:pt modelId="{1346A38A-B467-40C9-8336-4A7EE02E6308}" type="sibTrans" cxnId="{DDE96847-8A2F-46D3-A15F-8E30FA41B8AB}">
      <dgm:prSet/>
      <dgm:spPr/>
      <dgm:t>
        <a:bodyPr/>
        <a:lstStyle/>
        <a:p>
          <a:endParaRPr lang="en-AU" sz="1100" b="1"/>
        </a:p>
      </dgm:t>
    </dgm:pt>
    <dgm:pt modelId="{DBD60054-F30A-43A7-900B-E9E3A0F93C46}">
      <dgm:prSet phldrT="[Text]" custT="1"/>
      <dgm:spPr/>
      <dgm:t>
        <a:bodyPr/>
        <a:lstStyle/>
        <a:p>
          <a:r>
            <a:rPr lang="en-US" sz="1100" b="1"/>
            <a:t>Increasing collaboration </a:t>
          </a:r>
          <a:endParaRPr lang="en-AU" sz="1100" b="1"/>
        </a:p>
      </dgm:t>
    </dgm:pt>
    <dgm:pt modelId="{DAA7760D-0DB5-45A6-AC51-E575F2968323}" type="parTrans" cxnId="{8B984596-221C-4676-9D50-A361FA5A9FEE}">
      <dgm:prSet/>
      <dgm:spPr/>
      <dgm:t>
        <a:bodyPr/>
        <a:lstStyle/>
        <a:p>
          <a:endParaRPr lang="en-AU" sz="1100" b="1"/>
        </a:p>
      </dgm:t>
    </dgm:pt>
    <dgm:pt modelId="{1B14072C-0122-4EE2-A41F-D2874D49BEF4}" type="sibTrans" cxnId="{8B984596-221C-4676-9D50-A361FA5A9FEE}">
      <dgm:prSet/>
      <dgm:spPr/>
      <dgm:t>
        <a:bodyPr/>
        <a:lstStyle/>
        <a:p>
          <a:endParaRPr lang="en-AU" sz="1100" b="1"/>
        </a:p>
      </dgm:t>
    </dgm:pt>
    <dgm:pt modelId="{7A706745-F023-42CC-9A56-32DA1D1271C0}">
      <dgm:prSet phldrT="[Text]" custT="1"/>
      <dgm:spPr/>
      <dgm:t>
        <a:bodyPr/>
        <a:lstStyle/>
        <a:p>
          <a:r>
            <a:rPr lang="en-AU" sz="1100" b="1"/>
            <a:t>Quick updates</a:t>
          </a:r>
        </a:p>
      </dgm:t>
    </dgm:pt>
    <dgm:pt modelId="{7E9A21A1-B597-4874-91CF-BC0C3EE1DED5}" type="parTrans" cxnId="{43AF90F4-C4D7-437F-939E-0AE6F791D449}">
      <dgm:prSet/>
      <dgm:spPr/>
      <dgm:t>
        <a:bodyPr/>
        <a:lstStyle/>
        <a:p>
          <a:endParaRPr lang="en-AU" sz="1100" b="1"/>
        </a:p>
      </dgm:t>
    </dgm:pt>
    <dgm:pt modelId="{6E383DE0-06F1-4974-9688-2A45A8459E01}" type="sibTrans" cxnId="{43AF90F4-C4D7-437F-939E-0AE6F791D449}">
      <dgm:prSet/>
      <dgm:spPr/>
      <dgm:t>
        <a:bodyPr/>
        <a:lstStyle/>
        <a:p>
          <a:endParaRPr lang="en-AU" sz="1100" b="1"/>
        </a:p>
      </dgm:t>
    </dgm:pt>
    <dgm:pt modelId="{BCB05936-4917-43B2-918E-A909C3DF5EC9}">
      <dgm:prSet phldrT="[Text]" custT="1"/>
      <dgm:spPr/>
      <dgm:t>
        <a:bodyPr/>
        <a:lstStyle/>
        <a:p>
          <a:r>
            <a:rPr lang="en-AU" sz="1100" b="1"/>
            <a:t>Minimising error</a:t>
          </a:r>
        </a:p>
      </dgm:t>
    </dgm:pt>
    <dgm:pt modelId="{94CDE58F-CA3E-4AE8-B3E3-0FFF7A013E3E}" type="parTrans" cxnId="{A87EED6B-5B03-447B-BF86-7A4F2E0304BB}">
      <dgm:prSet/>
      <dgm:spPr/>
      <dgm:t>
        <a:bodyPr/>
        <a:lstStyle/>
        <a:p>
          <a:endParaRPr lang="en-AU" sz="1100" b="1"/>
        </a:p>
      </dgm:t>
    </dgm:pt>
    <dgm:pt modelId="{6A132E8C-AC41-4CEA-8257-993A304697BA}" type="sibTrans" cxnId="{A87EED6B-5B03-447B-BF86-7A4F2E0304BB}">
      <dgm:prSet/>
      <dgm:spPr/>
      <dgm:t>
        <a:bodyPr/>
        <a:lstStyle/>
        <a:p>
          <a:endParaRPr lang="en-AU" sz="1100" b="1"/>
        </a:p>
      </dgm:t>
    </dgm:pt>
    <dgm:pt modelId="{B08F2899-42DD-4CD7-8C90-CE32C12C0699}" type="pres">
      <dgm:prSet presAssocID="{E1D0B6C2-1199-4DCF-88F4-8F862E2A108E}" presName="cycle" presStyleCnt="0">
        <dgm:presLayoutVars>
          <dgm:dir/>
          <dgm:resizeHandles val="exact"/>
        </dgm:presLayoutVars>
      </dgm:prSet>
      <dgm:spPr/>
    </dgm:pt>
    <dgm:pt modelId="{92B2AEFB-B6FD-4B10-B5DE-8A99DA8F6492}" type="pres">
      <dgm:prSet presAssocID="{752E4E76-E420-4036-AB80-1DCEE2847895}" presName="node" presStyleLbl="node1" presStyleIdx="0" presStyleCnt="7" custScaleX="135022">
        <dgm:presLayoutVars>
          <dgm:bulletEnabled val="1"/>
        </dgm:presLayoutVars>
      </dgm:prSet>
      <dgm:spPr/>
    </dgm:pt>
    <dgm:pt modelId="{B190F648-4298-4886-B983-A9422D153233}" type="pres">
      <dgm:prSet presAssocID="{752E4E76-E420-4036-AB80-1DCEE2847895}" presName="spNode" presStyleCnt="0"/>
      <dgm:spPr/>
    </dgm:pt>
    <dgm:pt modelId="{ADAFF8CA-3622-4A08-86BD-BFFBEE7285FF}" type="pres">
      <dgm:prSet presAssocID="{BEF8ACFE-2DDB-4C03-AF84-9F73C3D41F99}" presName="sibTrans" presStyleLbl="sibTrans1D1" presStyleIdx="0" presStyleCnt="7"/>
      <dgm:spPr/>
    </dgm:pt>
    <dgm:pt modelId="{3B4A03A5-5F8C-4AA7-9D6E-D52A3A7848A2}" type="pres">
      <dgm:prSet presAssocID="{7A706745-F023-42CC-9A56-32DA1D1271C0}" presName="node" presStyleLbl="node1" presStyleIdx="1" presStyleCnt="7" custScaleX="132559">
        <dgm:presLayoutVars>
          <dgm:bulletEnabled val="1"/>
        </dgm:presLayoutVars>
      </dgm:prSet>
      <dgm:spPr/>
    </dgm:pt>
    <dgm:pt modelId="{75123727-BB07-4D31-AD4A-8FC6411E30AA}" type="pres">
      <dgm:prSet presAssocID="{7A706745-F023-42CC-9A56-32DA1D1271C0}" presName="spNode" presStyleCnt="0"/>
      <dgm:spPr/>
    </dgm:pt>
    <dgm:pt modelId="{0FD15477-80AD-4606-B9AE-EE95A42699BB}" type="pres">
      <dgm:prSet presAssocID="{6E383DE0-06F1-4974-9688-2A45A8459E01}" presName="sibTrans" presStyleLbl="sibTrans1D1" presStyleIdx="1" presStyleCnt="7"/>
      <dgm:spPr/>
    </dgm:pt>
    <dgm:pt modelId="{7F4ABA61-44D0-47C2-B91D-1FA0671C89A8}" type="pres">
      <dgm:prSet presAssocID="{13AEABBA-721A-4CB4-9B05-CE980B473B64}" presName="node" presStyleLbl="node1" presStyleIdx="2" presStyleCnt="7" custScaleX="178723">
        <dgm:presLayoutVars>
          <dgm:bulletEnabled val="1"/>
        </dgm:presLayoutVars>
      </dgm:prSet>
      <dgm:spPr/>
    </dgm:pt>
    <dgm:pt modelId="{9ECAA9F5-FBA2-41AC-9FD5-2F496017E84C}" type="pres">
      <dgm:prSet presAssocID="{13AEABBA-721A-4CB4-9B05-CE980B473B64}" presName="spNode" presStyleCnt="0"/>
      <dgm:spPr/>
    </dgm:pt>
    <dgm:pt modelId="{E78C987F-8CEA-4113-842D-2BABD4B460FC}" type="pres">
      <dgm:prSet presAssocID="{3CCDF914-A604-4360-B552-B3268F24E1D7}" presName="sibTrans" presStyleLbl="sibTrans1D1" presStyleIdx="2" presStyleCnt="7"/>
      <dgm:spPr/>
    </dgm:pt>
    <dgm:pt modelId="{93DC27C3-6847-481D-9E1D-49CD38EB8BCA}" type="pres">
      <dgm:prSet presAssocID="{86C22D1D-92A5-4C95-8159-16603B1BBC5D}" presName="node" presStyleLbl="node1" presStyleIdx="3" presStyleCnt="7" custScaleX="157194" custRadScaleRad="108371" custRadScaleInc="-35894">
        <dgm:presLayoutVars>
          <dgm:bulletEnabled val="1"/>
        </dgm:presLayoutVars>
      </dgm:prSet>
      <dgm:spPr/>
    </dgm:pt>
    <dgm:pt modelId="{EBB63019-6BB0-4293-9AE8-33AFEC79DBBA}" type="pres">
      <dgm:prSet presAssocID="{86C22D1D-92A5-4C95-8159-16603B1BBC5D}" presName="spNode" presStyleCnt="0"/>
      <dgm:spPr/>
    </dgm:pt>
    <dgm:pt modelId="{3253B37A-D7B9-46C8-B2F2-C2A1FFBA740F}" type="pres">
      <dgm:prSet presAssocID="{A1EE006E-1734-46D2-B2B7-492EE2C7CA9C}" presName="sibTrans" presStyleLbl="sibTrans1D1" presStyleIdx="3" presStyleCnt="7"/>
      <dgm:spPr/>
    </dgm:pt>
    <dgm:pt modelId="{94910B1E-FD4F-41EB-B492-02E4F26175F3}" type="pres">
      <dgm:prSet presAssocID="{BCB05936-4917-43B2-918E-A909C3DF5EC9}" presName="node" presStyleLbl="node1" presStyleIdx="4" presStyleCnt="7" custScaleX="151046" custRadScaleRad="114463" custRadScaleInc="65129">
        <dgm:presLayoutVars>
          <dgm:bulletEnabled val="1"/>
        </dgm:presLayoutVars>
      </dgm:prSet>
      <dgm:spPr/>
    </dgm:pt>
    <dgm:pt modelId="{AC863D80-26C9-4BA5-A452-80C0FF5F6293}" type="pres">
      <dgm:prSet presAssocID="{BCB05936-4917-43B2-918E-A909C3DF5EC9}" presName="spNode" presStyleCnt="0"/>
      <dgm:spPr/>
    </dgm:pt>
    <dgm:pt modelId="{9AE7F208-F3BA-45A4-8555-DA7C888E4180}" type="pres">
      <dgm:prSet presAssocID="{6A132E8C-AC41-4CEA-8257-993A304697BA}" presName="sibTrans" presStyleLbl="sibTrans1D1" presStyleIdx="4" presStyleCnt="7"/>
      <dgm:spPr/>
    </dgm:pt>
    <dgm:pt modelId="{8370F91B-65DD-42A1-B74F-E5C4F4420B8E}" type="pres">
      <dgm:prSet presAssocID="{8E954D98-A6B1-4905-B176-6EBBFEFD83F6}" presName="node" presStyleLbl="node1" presStyleIdx="5" presStyleCnt="7" custScaleX="157304">
        <dgm:presLayoutVars>
          <dgm:bulletEnabled val="1"/>
        </dgm:presLayoutVars>
      </dgm:prSet>
      <dgm:spPr/>
    </dgm:pt>
    <dgm:pt modelId="{EBF6E01F-5D47-4DA8-9A9C-0CA8E90AEF91}" type="pres">
      <dgm:prSet presAssocID="{8E954D98-A6B1-4905-B176-6EBBFEFD83F6}" presName="spNode" presStyleCnt="0"/>
      <dgm:spPr/>
    </dgm:pt>
    <dgm:pt modelId="{9FAB767B-A4D7-499D-8BD1-3C0EF083F4A5}" type="pres">
      <dgm:prSet presAssocID="{1346A38A-B467-40C9-8336-4A7EE02E6308}" presName="sibTrans" presStyleLbl="sibTrans1D1" presStyleIdx="5" presStyleCnt="7"/>
      <dgm:spPr/>
    </dgm:pt>
    <dgm:pt modelId="{DCAB8045-FB36-4313-962A-C27F01207A2A}" type="pres">
      <dgm:prSet presAssocID="{DBD60054-F30A-43A7-900B-E9E3A0F93C46}" presName="node" presStyleLbl="node1" presStyleIdx="6" presStyleCnt="7" custScaleX="125968">
        <dgm:presLayoutVars>
          <dgm:bulletEnabled val="1"/>
        </dgm:presLayoutVars>
      </dgm:prSet>
      <dgm:spPr/>
    </dgm:pt>
    <dgm:pt modelId="{B75BAFB6-6919-4DD8-8CAA-38DDB16A7577}" type="pres">
      <dgm:prSet presAssocID="{DBD60054-F30A-43A7-900B-E9E3A0F93C46}" presName="spNode" presStyleCnt="0"/>
      <dgm:spPr/>
    </dgm:pt>
    <dgm:pt modelId="{E139D833-E309-44C7-BCE8-744E7B87FBE9}" type="pres">
      <dgm:prSet presAssocID="{1B14072C-0122-4EE2-A41F-D2874D49BEF4}" presName="sibTrans" presStyleLbl="sibTrans1D1" presStyleIdx="6" presStyleCnt="7"/>
      <dgm:spPr/>
    </dgm:pt>
  </dgm:ptLst>
  <dgm:cxnLst>
    <dgm:cxn modelId="{BB2A9301-4897-4B78-975E-EE9409916B73}" type="presOf" srcId="{6E383DE0-06F1-4974-9688-2A45A8459E01}" destId="{0FD15477-80AD-4606-B9AE-EE95A42699BB}" srcOrd="0" destOrd="0" presId="urn:microsoft.com/office/officeart/2005/8/layout/cycle5"/>
    <dgm:cxn modelId="{85D0B318-C27E-4228-A235-8DAD0C037F6A}" type="presOf" srcId="{8E954D98-A6B1-4905-B176-6EBBFEFD83F6}" destId="{8370F91B-65DD-42A1-B74F-E5C4F4420B8E}" srcOrd="0" destOrd="0" presId="urn:microsoft.com/office/officeart/2005/8/layout/cycle5"/>
    <dgm:cxn modelId="{CEBBE71F-C4F9-4736-825E-20BA298A9071}" type="presOf" srcId="{13AEABBA-721A-4CB4-9B05-CE980B473B64}" destId="{7F4ABA61-44D0-47C2-B91D-1FA0671C89A8}" srcOrd="0" destOrd="0" presId="urn:microsoft.com/office/officeart/2005/8/layout/cycle5"/>
    <dgm:cxn modelId="{BC4FAA20-DC70-4035-B0CA-7AAC4CDFA86B}" type="presOf" srcId="{7A706745-F023-42CC-9A56-32DA1D1271C0}" destId="{3B4A03A5-5F8C-4AA7-9D6E-D52A3A7848A2}" srcOrd="0" destOrd="0" presId="urn:microsoft.com/office/officeart/2005/8/layout/cycle5"/>
    <dgm:cxn modelId="{7C9D4F2F-88F5-4887-8421-548EA6CFCC37}" type="presOf" srcId="{E1D0B6C2-1199-4DCF-88F4-8F862E2A108E}" destId="{B08F2899-42DD-4CD7-8C90-CE32C12C0699}" srcOrd="0" destOrd="0" presId="urn:microsoft.com/office/officeart/2005/8/layout/cycle5"/>
    <dgm:cxn modelId="{DDE96847-8A2F-46D3-A15F-8E30FA41B8AB}" srcId="{E1D0B6C2-1199-4DCF-88F4-8F862E2A108E}" destId="{8E954D98-A6B1-4905-B176-6EBBFEFD83F6}" srcOrd="5" destOrd="0" parTransId="{0594FE35-C6B3-4FB0-AB5C-37C796DE8083}" sibTransId="{1346A38A-B467-40C9-8336-4A7EE02E6308}"/>
    <dgm:cxn modelId="{A87EED6B-5B03-447B-BF86-7A4F2E0304BB}" srcId="{E1D0B6C2-1199-4DCF-88F4-8F862E2A108E}" destId="{BCB05936-4917-43B2-918E-A909C3DF5EC9}" srcOrd="4" destOrd="0" parTransId="{94CDE58F-CA3E-4AE8-B3E3-0FFF7A013E3E}" sibTransId="{6A132E8C-AC41-4CEA-8257-993A304697BA}"/>
    <dgm:cxn modelId="{FFC05E6E-E203-45CA-84AD-3EAA000E168A}" srcId="{E1D0B6C2-1199-4DCF-88F4-8F862E2A108E}" destId="{752E4E76-E420-4036-AB80-1DCEE2847895}" srcOrd="0" destOrd="0" parTransId="{9956D722-4001-4128-B2A9-6AE8C57B7DA7}" sibTransId="{BEF8ACFE-2DDB-4C03-AF84-9F73C3D41F99}"/>
    <dgm:cxn modelId="{86E3DF6F-6902-4090-AD97-483314CEAF07}" srcId="{E1D0B6C2-1199-4DCF-88F4-8F862E2A108E}" destId="{86C22D1D-92A5-4C95-8159-16603B1BBC5D}" srcOrd="3" destOrd="0" parTransId="{AA78BB60-C4D5-49BB-880B-91C1A27A8B55}" sibTransId="{A1EE006E-1734-46D2-B2B7-492EE2C7CA9C}"/>
    <dgm:cxn modelId="{2FAFBD7A-4A89-4FDC-96DA-B5384D604115}" type="presOf" srcId="{1346A38A-B467-40C9-8336-4A7EE02E6308}" destId="{9FAB767B-A4D7-499D-8BD1-3C0EF083F4A5}" srcOrd="0" destOrd="0" presId="urn:microsoft.com/office/officeart/2005/8/layout/cycle5"/>
    <dgm:cxn modelId="{0199F87B-C57F-490B-B536-7529B9554F1E}" type="presOf" srcId="{BCB05936-4917-43B2-918E-A909C3DF5EC9}" destId="{94910B1E-FD4F-41EB-B492-02E4F26175F3}" srcOrd="0" destOrd="0" presId="urn:microsoft.com/office/officeart/2005/8/layout/cycle5"/>
    <dgm:cxn modelId="{DC59C67E-E867-43D5-B4AB-DF4BA1E969EF}" type="presOf" srcId="{DBD60054-F30A-43A7-900B-E9E3A0F93C46}" destId="{DCAB8045-FB36-4313-962A-C27F01207A2A}" srcOrd="0" destOrd="0" presId="urn:microsoft.com/office/officeart/2005/8/layout/cycle5"/>
    <dgm:cxn modelId="{8B984596-221C-4676-9D50-A361FA5A9FEE}" srcId="{E1D0B6C2-1199-4DCF-88F4-8F862E2A108E}" destId="{DBD60054-F30A-43A7-900B-E9E3A0F93C46}" srcOrd="6" destOrd="0" parTransId="{DAA7760D-0DB5-45A6-AC51-E575F2968323}" sibTransId="{1B14072C-0122-4EE2-A41F-D2874D49BEF4}"/>
    <dgm:cxn modelId="{94F9BE9E-B12B-4496-B6B0-06A0EEE2EF0B}" type="presOf" srcId="{3CCDF914-A604-4360-B552-B3268F24E1D7}" destId="{E78C987F-8CEA-4113-842D-2BABD4B460FC}" srcOrd="0" destOrd="0" presId="urn:microsoft.com/office/officeart/2005/8/layout/cycle5"/>
    <dgm:cxn modelId="{E9D428BC-F12A-4505-90F8-7C3E255BAFB0}" type="presOf" srcId="{BEF8ACFE-2DDB-4C03-AF84-9F73C3D41F99}" destId="{ADAFF8CA-3622-4A08-86BD-BFFBEE7285FF}" srcOrd="0" destOrd="0" presId="urn:microsoft.com/office/officeart/2005/8/layout/cycle5"/>
    <dgm:cxn modelId="{B24A9BBE-25B3-44E7-AE24-0B8B403A7311}" type="presOf" srcId="{1B14072C-0122-4EE2-A41F-D2874D49BEF4}" destId="{E139D833-E309-44C7-BCE8-744E7B87FBE9}" srcOrd="0" destOrd="0" presId="urn:microsoft.com/office/officeart/2005/8/layout/cycle5"/>
    <dgm:cxn modelId="{19F9B3BE-FBAD-4B13-B20D-0462F944D4A8}" srcId="{E1D0B6C2-1199-4DCF-88F4-8F862E2A108E}" destId="{13AEABBA-721A-4CB4-9B05-CE980B473B64}" srcOrd="2" destOrd="0" parTransId="{134B8D22-3DB5-4DCC-8251-3AC475D4BD98}" sibTransId="{3CCDF914-A604-4360-B552-B3268F24E1D7}"/>
    <dgm:cxn modelId="{608588C0-E877-4365-BD93-76EC86422F23}" type="presOf" srcId="{86C22D1D-92A5-4C95-8159-16603B1BBC5D}" destId="{93DC27C3-6847-481D-9E1D-49CD38EB8BCA}" srcOrd="0" destOrd="0" presId="urn:microsoft.com/office/officeart/2005/8/layout/cycle5"/>
    <dgm:cxn modelId="{9E9D91C3-F4B1-4754-8E3A-D405952E3266}" type="presOf" srcId="{752E4E76-E420-4036-AB80-1DCEE2847895}" destId="{92B2AEFB-B6FD-4B10-B5DE-8A99DA8F6492}" srcOrd="0" destOrd="0" presId="urn:microsoft.com/office/officeart/2005/8/layout/cycle5"/>
    <dgm:cxn modelId="{98D627CD-B765-425C-845B-177D7F6F5707}" type="presOf" srcId="{A1EE006E-1734-46D2-B2B7-492EE2C7CA9C}" destId="{3253B37A-D7B9-46C8-B2F2-C2A1FFBA740F}" srcOrd="0" destOrd="0" presId="urn:microsoft.com/office/officeart/2005/8/layout/cycle5"/>
    <dgm:cxn modelId="{43AF90F4-C4D7-437F-939E-0AE6F791D449}" srcId="{E1D0B6C2-1199-4DCF-88F4-8F862E2A108E}" destId="{7A706745-F023-42CC-9A56-32DA1D1271C0}" srcOrd="1" destOrd="0" parTransId="{7E9A21A1-B597-4874-91CF-BC0C3EE1DED5}" sibTransId="{6E383DE0-06F1-4974-9688-2A45A8459E01}"/>
    <dgm:cxn modelId="{8512C2FC-4D88-44FE-B15A-4AAF07173349}" type="presOf" srcId="{6A132E8C-AC41-4CEA-8257-993A304697BA}" destId="{9AE7F208-F3BA-45A4-8555-DA7C888E4180}" srcOrd="0" destOrd="0" presId="urn:microsoft.com/office/officeart/2005/8/layout/cycle5"/>
    <dgm:cxn modelId="{9B804085-AB18-4D3C-AF11-FA634BDDF183}" type="presParOf" srcId="{B08F2899-42DD-4CD7-8C90-CE32C12C0699}" destId="{92B2AEFB-B6FD-4B10-B5DE-8A99DA8F6492}" srcOrd="0" destOrd="0" presId="urn:microsoft.com/office/officeart/2005/8/layout/cycle5"/>
    <dgm:cxn modelId="{14E6CF41-6EC3-4D9E-A351-E104017F319F}" type="presParOf" srcId="{B08F2899-42DD-4CD7-8C90-CE32C12C0699}" destId="{B190F648-4298-4886-B983-A9422D153233}" srcOrd="1" destOrd="0" presId="urn:microsoft.com/office/officeart/2005/8/layout/cycle5"/>
    <dgm:cxn modelId="{4CAC0964-28E9-4E10-9996-A77485F68DBF}" type="presParOf" srcId="{B08F2899-42DD-4CD7-8C90-CE32C12C0699}" destId="{ADAFF8CA-3622-4A08-86BD-BFFBEE7285FF}" srcOrd="2" destOrd="0" presId="urn:microsoft.com/office/officeart/2005/8/layout/cycle5"/>
    <dgm:cxn modelId="{3B7C326C-35F7-4072-962A-855F5706245B}" type="presParOf" srcId="{B08F2899-42DD-4CD7-8C90-CE32C12C0699}" destId="{3B4A03A5-5F8C-4AA7-9D6E-D52A3A7848A2}" srcOrd="3" destOrd="0" presId="urn:microsoft.com/office/officeart/2005/8/layout/cycle5"/>
    <dgm:cxn modelId="{8E98F234-446A-4FBD-87F9-179036999D17}" type="presParOf" srcId="{B08F2899-42DD-4CD7-8C90-CE32C12C0699}" destId="{75123727-BB07-4D31-AD4A-8FC6411E30AA}" srcOrd="4" destOrd="0" presId="urn:microsoft.com/office/officeart/2005/8/layout/cycle5"/>
    <dgm:cxn modelId="{6A25BB7F-9F2E-4C20-BA2E-E333EC23BDFD}" type="presParOf" srcId="{B08F2899-42DD-4CD7-8C90-CE32C12C0699}" destId="{0FD15477-80AD-4606-B9AE-EE95A42699BB}" srcOrd="5" destOrd="0" presId="urn:microsoft.com/office/officeart/2005/8/layout/cycle5"/>
    <dgm:cxn modelId="{05341737-B8A7-43A4-B3D8-0712FD30C8BC}" type="presParOf" srcId="{B08F2899-42DD-4CD7-8C90-CE32C12C0699}" destId="{7F4ABA61-44D0-47C2-B91D-1FA0671C89A8}" srcOrd="6" destOrd="0" presId="urn:microsoft.com/office/officeart/2005/8/layout/cycle5"/>
    <dgm:cxn modelId="{4BAD769C-6229-472D-8710-D567959B59AD}" type="presParOf" srcId="{B08F2899-42DD-4CD7-8C90-CE32C12C0699}" destId="{9ECAA9F5-FBA2-41AC-9FD5-2F496017E84C}" srcOrd="7" destOrd="0" presId="urn:microsoft.com/office/officeart/2005/8/layout/cycle5"/>
    <dgm:cxn modelId="{402212BF-7C11-4EC2-85F0-BF4E89381D3A}" type="presParOf" srcId="{B08F2899-42DD-4CD7-8C90-CE32C12C0699}" destId="{E78C987F-8CEA-4113-842D-2BABD4B460FC}" srcOrd="8" destOrd="0" presId="urn:microsoft.com/office/officeart/2005/8/layout/cycle5"/>
    <dgm:cxn modelId="{63BB53BE-5477-4839-BD49-A4AACD7F99DA}" type="presParOf" srcId="{B08F2899-42DD-4CD7-8C90-CE32C12C0699}" destId="{93DC27C3-6847-481D-9E1D-49CD38EB8BCA}" srcOrd="9" destOrd="0" presId="urn:microsoft.com/office/officeart/2005/8/layout/cycle5"/>
    <dgm:cxn modelId="{F80D5E9B-CA0A-4CE3-BFC9-66C6AE4F9DCD}" type="presParOf" srcId="{B08F2899-42DD-4CD7-8C90-CE32C12C0699}" destId="{EBB63019-6BB0-4293-9AE8-33AFEC79DBBA}" srcOrd="10" destOrd="0" presId="urn:microsoft.com/office/officeart/2005/8/layout/cycle5"/>
    <dgm:cxn modelId="{E7047F80-1CF7-4FBF-9A9F-09B37A84F6C4}" type="presParOf" srcId="{B08F2899-42DD-4CD7-8C90-CE32C12C0699}" destId="{3253B37A-D7B9-46C8-B2F2-C2A1FFBA740F}" srcOrd="11" destOrd="0" presId="urn:microsoft.com/office/officeart/2005/8/layout/cycle5"/>
    <dgm:cxn modelId="{FDBC1AD1-9566-43F9-941A-C19D95D0D473}" type="presParOf" srcId="{B08F2899-42DD-4CD7-8C90-CE32C12C0699}" destId="{94910B1E-FD4F-41EB-B492-02E4F26175F3}" srcOrd="12" destOrd="0" presId="urn:microsoft.com/office/officeart/2005/8/layout/cycle5"/>
    <dgm:cxn modelId="{663EBF7C-F86B-4DFC-93B5-9BE582154B88}" type="presParOf" srcId="{B08F2899-42DD-4CD7-8C90-CE32C12C0699}" destId="{AC863D80-26C9-4BA5-A452-80C0FF5F6293}" srcOrd="13" destOrd="0" presId="urn:microsoft.com/office/officeart/2005/8/layout/cycle5"/>
    <dgm:cxn modelId="{9CBA5BD0-A298-4A3A-8A82-AC6EFCE84863}" type="presParOf" srcId="{B08F2899-42DD-4CD7-8C90-CE32C12C0699}" destId="{9AE7F208-F3BA-45A4-8555-DA7C888E4180}" srcOrd="14" destOrd="0" presId="urn:microsoft.com/office/officeart/2005/8/layout/cycle5"/>
    <dgm:cxn modelId="{5D64124E-E334-4D30-98A1-2E5F8D102050}" type="presParOf" srcId="{B08F2899-42DD-4CD7-8C90-CE32C12C0699}" destId="{8370F91B-65DD-42A1-B74F-E5C4F4420B8E}" srcOrd="15" destOrd="0" presId="urn:microsoft.com/office/officeart/2005/8/layout/cycle5"/>
    <dgm:cxn modelId="{1275EC58-668D-4B54-9812-817BBBE69CC5}" type="presParOf" srcId="{B08F2899-42DD-4CD7-8C90-CE32C12C0699}" destId="{EBF6E01F-5D47-4DA8-9A9C-0CA8E90AEF91}" srcOrd="16" destOrd="0" presId="urn:microsoft.com/office/officeart/2005/8/layout/cycle5"/>
    <dgm:cxn modelId="{1B74BB7B-F160-4E9E-8401-55FB92369FDD}" type="presParOf" srcId="{B08F2899-42DD-4CD7-8C90-CE32C12C0699}" destId="{9FAB767B-A4D7-499D-8BD1-3C0EF083F4A5}" srcOrd="17" destOrd="0" presId="urn:microsoft.com/office/officeart/2005/8/layout/cycle5"/>
    <dgm:cxn modelId="{3E2489BA-8DF0-4320-9AD7-7919E338C50D}" type="presParOf" srcId="{B08F2899-42DD-4CD7-8C90-CE32C12C0699}" destId="{DCAB8045-FB36-4313-962A-C27F01207A2A}" srcOrd="18" destOrd="0" presId="urn:microsoft.com/office/officeart/2005/8/layout/cycle5"/>
    <dgm:cxn modelId="{3B41F30E-7048-4DD3-B764-1C13233780C4}" type="presParOf" srcId="{B08F2899-42DD-4CD7-8C90-CE32C12C0699}" destId="{B75BAFB6-6919-4DD8-8CAA-38DDB16A7577}" srcOrd="19" destOrd="0" presId="urn:microsoft.com/office/officeart/2005/8/layout/cycle5"/>
    <dgm:cxn modelId="{9E2D8FA5-AD9B-45DC-B375-E90A31949C2A}" type="presParOf" srcId="{B08F2899-42DD-4CD7-8C90-CE32C12C0699}" destId="{E139D833-E309-44C7-BCE8-744E7B87FBE9}" srcOrd="20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B2AEFB-B6FD-4B10-B5DE-8A99DA8F6492}">
      <dsp:nvSpPr>
        <dsp:cNvPr id="0" name=""/>
        <dsp:cNvSpPr/>
      </dsp:nvSpPr>
      <dsp:spPr>
        <a:xfrm>
          <a:off x="2065475" y="634"/>
          <a:ext cx="1128474" cy="5432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1" kern="1200"/>
            <a:t>Testing large no. of models</a:t>
          </a:r>
        </a:p>
      </dsp:txBody>
      <dsp:txXfrm>
        <a:off x="2091994" y="27153"/>
        <a:ext cx="1075436" cy="490213"/>
      </dsp:txXfrm>
    </dsp:sp>
    <dsp:sp modelId="{ADAFF8CA-3622-4A08-86BD-BFFBEE7285FF}">
      <dsp:nvSpPr>
        <dsp:cNvPr id="0" name=""/>
        <dsp:cNvSpPr/>
      </dsp:nvSpPr>
      <dsp:spPr>
        <a:xfrm>
          <a:off x="1077652" y="272260"/>
          <a:ext cx="3104121" cy="3104121"/>
        </a:xfrm>
        <a:custGeom>
          <a:avLst/>
          <a:gdLst/>
          <a:ahLst/>
          <a:cxnLst/>
          <a:rect l="0" t="0" r="0" b="0"/>
          <a:pathLst>
            <a:path>
              <a:moveTo>
                <a:pt x="2194383" y="139151"/>
              </a:moveTo>
              <a:arcTo wR="1552060" hR="1552060" stAng="17666822" swAng="56620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4A03A5-5F8C-4AA7-9D6E-D52A3A7848A2}">
      <dsp:nvSpPr>
        <dsp:cNvPr id="0" name=""/>
        <dsp:cNvSpPr/>
      </dsp:nvSpPr>
      <dsp:spPr>
        <a:xfrm>
          <a:off x="3289218" y="585001"/>
          <a:ext cx="1107889" cy="5432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1" kern="1200"/>
            <a:t>Quick updates</a:t>
          </a:r>
        </a:p>
      </dsp:txBody>
      <dsp:txXfrm>
        <a:off x="3315737" y="611520"/>
        <a:ext cx="1054851" cy="490213"/>
      </dsp:txXfrm>
    </dsp:sp>
    <dsp:sp modelId="{0FD15477-80AD-4606-B9AE-EE95A42699BB}">
      <dsp:nvSpPr>
        <dsp:cNvPr id="0" name=""/>
        <dsp:cNvSpPr/>
      </dsp:nvSpPr>
      <dsp:spPr>
        <a:xfrm>
          <a:off x="1077652" y="272260"/>
          <a:ext cx="3104121" cy="3104121"/>
        </a:xfrm>
        <a:custGeom>
          <a:avLst/>
          <a:gdLst/>
          <a:ahLst/>
          <a:cxnLst/>
          <a:rect l="0" t="0" r="0" b="0"/>
          <a:pathLst>
            <a:path>
              <a:moveTo>
                <a:pt x="3002616" y="999990"/>
              </a:moveTo>
              <a:arcTo wR="1552060" hR="1552060" stAng="20349814" swAng="106499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4ABA61-44D0-47C2-B91D-1FA0671C89A8}">
      <dsp:nvSpPr>
        <dsp:cNvPr id="0" name=""/>
        <dsp:cNvSpPr/>
      </dsp:nvSpPr>
      <dsp:spPr>
        <a:xfrm>
          <a:off x="3396003" y="1898061"/>
          <a:ext cx="1493714" cy="5432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1" kern="1200"/>
            <a:t>Reproducibility</a:t>
          </a:r>
        </a:p>
      </dsp:txBody>
      <dsp:txXfrm>
        <a:off x="3422522" y="1924580"/>
        <a:ext cx="1440676" cy="490213"/>
      </dsp:txXfrm>
    </dsp:sp>
    <dsp:sp modelId="{E78C987F-8CEA-4113-842D-2BABD4B460FC}">
      <dsp:nvSpPr>
        <dsp:cNvPr id="0" name=""/>
        <dsp:cNvSpPr/>
      </dsp:nvSpPr>
      <dsp:spPr>
        <a:xfrm>
          <a:off x="984233" y="563881"/>
          <a:ext cx="3104121" cy="3104121"/>
        </a:xfrm>
        <a:custGeom>
          <a:avLst/>
          <a:gdLst/>
          <a:ahLst/>
          <a:cxnLst/>
          <a:rect l="0" t="0" r="0" b="0"/>
          <a:pathLst>
            <a:path>
              <a:moveTo>
                <a:pt x="3042683" y="1984424"/>
              </a:moveTo>
              <a:arcTo wR="1552060" hR="1552060" stAng="970506" swAng="73984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DC27C3-6847-481D-9E1D-49CD38EB8BCA}">
      <dsp:nvSpPr>
        <dsp:cNvPr id="0" name=""/>
        <dsp:cNvSpPr/>
      </dsp:nvSpPr>
      <dsp:spPr>
        <a:xfrm>
          <a:off x="2860837" y="2951688"/>
          <a:ext cx="1313781" cy="5432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1" kern="1200"/>
            <a:t>Versioning</a:t>
          </a:r>
        </a:p>
      </dsp:txBody>
      <dsp:txXfrm>
        <a:off x="2887356" y="2978207"/>
        <a:ext cx="1260743" cy="490213"/>
      </dsp:txXfrm>
    </dsp:sp>
    <dsp:sp modelId="{3253B37A-D7B9-46C8-B2F2-C2A1FFBA740F}">
      <dsp:nvSpPr>
        <dsp:cNvPr id="0" name=""/>
        <dsp:cNvSpPr/>
      </dsp:nvSpPr>
      <dsp:spPr>
        <a:xfrm>
          <a:off x="860829" y="427080"/>
          <a:ext cx="3104121" cy="3104121"/>
        </a:xfrm>
        <a:custGeom>
          <a:avLst/>
          <a:gdLst/>
          <a:ahLst/>
          <a:cxnLst/>
          <a:rect l="0" t="0" r="0" b="0"/>
          <a:pathLst>
            <a:path>
              <a:moveTo>
                <a:pt x="1848234" y="3075600"/>
              </a:moveTo>
              <a:arcTo wR="1552060" hR="1552060" stAng="4739940" swAng="105819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910B1E-FD4F-41EB-B492-02E4F26175F3}">
      <dsp:nvSpPr>
        <dsp:cNvPr id="0" name=""/>
        <dsp:cNvSpPr/>
      </dsp:nvSpPr>
      <dsp:spPr>
        <a:xfrm>
          <a:off x="932360" y="2951688"/>
          <a:ext cx="1262398" cy="5432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1" kern="1200"/>
            <a:t>Minimising error</a:t>
          </a:r>
        </a:p>
      </dsp:txBody>
      <dsp:txXfrm>
        <a:off x="958879" y="2978207"/>
        <a:ext cx="1209360" cy="490213"/>
      </dsp:txXfrm>
    </dsp:sp>
    <dsp:sp modelId="{9AE7F208-F3BA-45A4-8555-DA7C888E4180}">
      <dsp:nvSpPr>
        <dsp:cNvPr id="0" name=""/>
        <dsp:cNvSpPr/>
      </dsp:nvSpPr>
      <dsp:spPr>
        <a:xfrm>
          <a:off x="1205151" y="924819"/>
          <a:ext cx="3104121" cy="3104121"/>
        </a:xfrm>
        <a:custGeom>
          <a:avLst/>
          <a:gdLst/>
          <a:ahLst/>
          <a:cxnLst/>
          <a:rect l="0" t="0" r="0" b="0"/>
          <a:pathLst>
            <a:path>
              <a:moveTo>
                <a:pt x="46142" y="1927695"/>
              </a:moveTo>
              <a:arcTo wR="1552060" hR="1552060" stAng="9959641" swAng="69069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70F91B-65DD-42A1-B74F-E5C4F4420B8E}">
      <dsp:nvSpPr>
        <dsp:cNvPr id="0" name=""/>
        <dsp:cNvSpPr/>
      </dsp:nvSpPr>
      <dsp:spPr>
        <a:xfrm>
          <a:off x="459215" y="1898061"/>
          <a:ext cx="1314700" cy="5432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1" kern="1200"/>
            <a:t>Communicating outcomes</a:t>
          </a:r>
        </a:p>
      </dsp:txBody>
      <dsp:txXfrm>
        <a:off x="485734" y="1924580"/>
        <a:ext cx="1261662" cy="490213"/>
      </dsp:txXfrm>
    </dsp:sp>
    <dsp:sp modelId="{9FAB767B-A4D7-499D-8BD1-3C0EF083F4A5}">
      <dsp:nvSpPr>
        <dsp:cNvPr id="0" name=""/>
        <dsp:cNvSpPr/>
      </dsp:nvSpPr>
      <dsp:spPr>
        <a:xfrm>
          <a:off x="1077652" y="272260"/>
          <a:ext cx="3104121" cy="3104121"/>
        </a:xfrm>
        <a:custGeom>
          <a:avLst/>
          <a:gdLst/>
          <a:ahLst/>
          <a:cxnLst/>
          <a:rect l="0" t="0" r="0" b="0"/>
          <a:pathLst>
            <a:path>
              <a:moveTo>
                <a:pt x="2251" y="1468490"/>
              </a:moveTo>
              <a:arcTo wR="1552060" hR="1552060" stAng="10985194" swAng="106499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AB8045-FB36-4313-962A-C27F01207A2A}">
      <dsp:nvSpPr>
        <dsp:cNvPr id="0" name=""/>
        <dsp:cNvSpPr/>
      </dsp:nvSpPr>
      <dsp:spPr>
        <a:xfrm>
          <a:off x="889861" y="585001"/>
          <a:ext cx="1052803" cy="5432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Increasing collaboration </a:t>
          </a:r>
          <a:endParaRPr lang="en-AU" sz="1100" b="1" kern="1200"/>
        </a:p>
      </dsp:txBody>
      <dsp:txXfrm>
        <a:off x="916380" y="611520"/>
        <a:ext cx="999765" cy="490213"/>
      </dsp:txXfrm>
    </dsp:sp>
    <dsp:sp modelId="{E139D833-E309-44C7-BCE8-744E7B87FBE9}">
      <dsp:nvSpPr>
        <dsp:cNvPr id="0" name=""/>
        <dsp:cNvSpPr/>
      </dsp:nvSpPr>
      <dsp:spPr>
        <a:xfrm>
          <a:off x="1077652" y="272260"/>
          <a:ext cx="3104121" cy="3104121"/>
        </a:xfrm>
        <a:custGeom>
          <a:avLst/>
          <a:gdLst/>
          <a:ahLst/>
          <a:cxnLst/>
          <a:rect l="0" t="0" r="0" b="0"/>
          <a:pathLst>
            <a:path>
              <a:moveTo>
                <a:pt x="686772" y="263585"/>
              </a:moveTo>
              <a:arcTo wR="1552060" hR="1552060" stAng="14166976" swAng="56620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7FB3CE-B199-D048-9953-7B87FF50ABBF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AC6D70-24C8-4741-94D2-AFE866FDC2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89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AC6D70-24C8-4741-94D2-AFE866FDC2D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305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AC6D70-24C8-4741-94D2-AFE866FDC2D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035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AC6D70-24C8-4741-94D2-AFE866FDC2D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069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AC6D70-24C8-4741-94D2-AFE866FDC2D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958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.xml"/><Relationship Id="rId7" Type="http://schemas.openxmlformats.org/officeDocument/2006/relationships/image" Target="../media/image4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.xml"/><Relationship Id="rId7" Type="http://schemas.openxmlformats.org/officeDocument/2006/relationships/image" Target="../media/image6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7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9.xml"/><Relationship Id="rId7" Type="http://schemas.openxmlformats.org/officeDocument/2006/relationships/image" Target="../media/image8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1.xml"/><Relationship Id="rId7" Type="http://schemas.openxmlformats.org/officeDocument/2006/relationships/image" Target="../media/image9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image" Target="../media/image10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image" Target="../media/image11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7.xml"/><Relationship Id="rId7" Type="http://schemas.openxmlformats.org/officeDocument/2006/relationships/image" Target="../media/image12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7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8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9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0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1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image" Target="../media/image12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520657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88" r="778" b="8112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>
            <a:off x="1" y="4965172"/>
            <a:ext cx="12303001" cy="1459385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368463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White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2256000"/>
            <a:ext cx="6720000" cy="1208571"/>
          </a:xfrm>
        </p:spPr>
        <p:txBody>
          <a:bodyPr anchor="t" anchorCtr="0"/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4444778"/>
            <a:ext cx="12192000" cy="186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92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Dark_green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>
              <a:solidFill>
                <a:schemeClr val="tx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2256000"/>
            <a:ext cx="6720000" cy="1208571"/>
          </a:xfrm>
        </p:spPr>
        <p:txBody>
          <a:bodyPr anchor="t" anchorCtr="0"/>
          <a:lstStyle>
            <a:lvl1pPr>
              <a:lnSpc>
                <a:spcPts val="4800"/>
              </a:lnSpc>
              <a:defRPr sz="4267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1" t="39391" b="49477"/>
          <a:stretch/>
        </p:blipFill>
        <p:spPr>
          <a:xfrm>
            <a:off x="5806498" y="5724942"/>
            <a:ext cx="6385501" cy="48595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3" t="26064" r="2937" b="64080"/>
          <a:stretch/>
        </p:blipFill>
        <p:spPr>
          <a:xfrm>
            <a:off x="3391818" y="4485122"/>
            <a:ext cx="6831897" cy="43024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94" b="92597"/>
          <a:stretch/>
        </p:blipFill>
        <p:spPr>
          <a:xfrm>
            <a:off x="5" y="4071070"/>
            <a:ext cx="4896071" cy="323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0"/>
            <a:ext cx="1536000" cy="230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37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heading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999" y="1152000"/>
            <a:ext cx="8880000" cy="4944000"/>
          </a:xfrm>
        </p:spPr>
        <p:txBody>
          <a:bodyPr/>
          <a:lstStyle>
            <a:lvl2pPr>
              <a:buClr>
                <a:schemeClr val="accent1"/>
              </a:buClr>
              <a:defRPr/>
            </a:lvl2pPr>
            <a:lvl3pPr>
              <a:buClrTx/>
              <a:defRPr/>
            </a:lvl3pPr>
            <a:lvl5pPr>
              <a:defRPr baseline="0"/>
            </a:lvl5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80000" y="624000"/>
            <a:ext cx="8880000" cy="282013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0000" y="240000"/>
            <a:ext cx="8880000" cy="341973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01" y="6369051"/>
            <a:ext cx="7548033" cy="223743"/>
          </a:xfrm>
        </p:spPr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200463-82E3-4197-AF92-19590EE9E500}"/>
              </a:ext>
            </a:extLst>
          </p:cNvPr>
          <p:cNvSpPr/>
          <p:nvPr/>
        </p:nvSpPr>
        <p:spPr>
          <a:xfrm>
            <a:off x="10083800" y="240000"/>
            <a:ext cx="1628200" cy="38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>
                <a:solidFill>
                  <a:schemeClr val="bg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2650948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999" y="1152000"/>
            <a:ext cx="8880000" cy="4944000"/>
          </a:xfrm>
        </p:spPr>
        <p:txBody>
          <a:bodyPr/>
          <a:lstStyle>
            <a:lvl2pPr>
              <a:buClr>
                <a:schemeClr val="accent1"/>
              </a:buClr>
              <a:defRPr/>
            </a:lvl2pPr>
            <a:lvl3pPr>
              <a:buClrTx/>
              <a:defRPr/>
            </a:lvl3pPr>
            <a:lvl5pPr>
              <a:defRPr baseline="0"/>
            </a:lvl5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0000" y="260647"/>
            <a:ext cx="8880000" cy="480055"/>
          </a:xfrm>
        </p:spPr>
        <p:txBody>
          <a:bodyPr anchor="t" anchorCtr="0"/>
          <a:lstStyle>
            <a:lvl1pPr>
              <a:lnSpc>
                <a:spcPts val="2533"/>
              </a:lnSpc>
              <a:defRPr lang="en-AU" dirty="0"/>
            </a:lvl1pPr>
          </a:lstStyle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18252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0" y="240000"/>
            <a:ext cx="8880000" cy="336000"/>
          </a:xfrm>
        </p:spPr>
        <p:txBody>
          <a:bodyPr/>
          <a:lstStyle/>
          <a:p>
            <a:r>
              <a:rPr lang="en-GB" noProof="0"/>
              <a:t>Click to edit Master title style</a:t>
            </a:r>
            <a:endParaRPr lang="en-AU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8365" y="1152000"/>
            <a:ext cx="5472000" cy="4944000"/>
          </a:xfrm>
        </p:spPr>
        <p:txBody>
          <a:bodyPr vert="horz" lIns="0" tIns="0" rIns="0" bIns="0" rtlCol="0">
            <a:noAutofit/>
          </a:bodyPr>
          <a:lstStyle>
            <a:lvl1pPr>
              <a:defRPr lang="en-AU" noProof="0" dirty="0" smtClean="0"/>
            </a:lvl1pPr>
            <a:lvl2pPr>
              <a:buClr>
                <a:schemeClr val="accent1"/>
              </a:buClr>
              <a:defRPr lang="en-AU" noProof="0" dirty="0" smtClean="0"/>
            </a:lvl2pPr>
            <a:lvl3pPr>
              <a:buClrTx/>
              <a:defRPr lang="en-AU" noProof="0" dirty="0" smtClean="0"/>
            </a:lvl3pPr>
            <a:lvl4pPr marL="863978" indent="-239994">
              <a:defRPr lang="en-AU" noProof="0" dirty="0" smtClean="0"/>
            </a:lvl4pPr>
            <a:lvl5pPr>
              <a:defRPr lang="en-AU" sz="160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lang="en-AU" noProof="0" dirty="0" smtClean="0"/>
            </a:lvl6pPr>
            <a:lvl7pPr>
              <a:defRPr lang="en-AU" noProof="0" dirty="0" smtClean="0"/>
            </a:lvl7pPr>
            <a:lvl8pPr>
              <a:defRPr lang="en-AU" noProof="0" dirty="0" smtClean="0"/>
            </a:lvl8pPr>
            <a:lvl9pPr>
              <a:defRPr lang="en-AU" noProof="0" dirty="0" smtClean="0"/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marL="1103972" lvl="4" indent="-239994" algn="l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Font typeface="Arial" pitchFamily="34" charset="0"/>
              <a:buChar char="–"/>
            </a:pPr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40000" y="1152000"/>
            <a:ext cx="5472000" cy="4944000"/>
          </a:xfrm>
        </p:spPr>
        <p:txBody>
          <a:bodyPr vert="horz" lIns="0" tIns="0" rIns="0" bIns="0" rtlCol="0">
            <a:noAutofit/>
          </a:bodyPr>
          <a:lstStyle>
            <a:lvl1pPr>
              <a:defRPr lang="en-AU" noProof="0" dirty="0" smtClean="0"/>
            </a:lvl1pPr>
            <a:lvl2pPr>
              <a:buClr>
                <a:schemeClr val="accent1"/>
              </a:buClr>
              <a:defRPr lang="en-AU" noProof="0" dirty="0" smtClean="0"/>
            </a:lvl2pPr>
            <a:lvl3pPr>
              <a:buClrTx/>
              <a:defRPr lang="en-AU" noProof="0" dirty="0" smtClean="0"/>
            </a:lvl3pPr>
            <a:lvl4pPr>
              <a:defRPr lang="en-AU" noProof="0" dirty="0" smtClean="0"/>
            </a:lvl4pPr>
            <a:lvl5pPr>
              <a:defRPr lang="en-AU" noProof="0" dirty="0" smtClean="0"/>
            </a:lvl5pPr>
            <a:lvl6pPr>
              <a:defRPr lang="en-AU" noProof="0" dirty="0" smtClean="0"/>
            </a:lvl6pPr>
            <a:lvl7pPr>
              <a:defRPr lang="en-AU" noProof="0" dirty="0" smtClean="0"/>
            </a:lvl7pPr>
            <a:lvl8pPr>
              <a:defRPr lang="en-AU" noProof="0" dirty="0" smtClean="0"/>
            </a:lvl8pPr>
            <a:lvl9pPr>
              <a:defRPr lang="en-AU" noProof="0" dirty="0" smtClean="0"/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03357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/>
          <a:p>
            <a:r>
              <a:rPr lang="en-GB" noProof="0"/>
              <a:t>Click to edit Master title style</a:t>
            </a:r>
            <a:endParaRPr lang="en-AU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8367" y="1151999"/>
            <a:ext cx="5472000" cy="4944000"/>
          </a:xfrm>
        </p:spPr>
        <p:txBody>
          <a:bodyPr vert="horz" lIns="0" tIns="0" rIns="0" bIns="0" rtlCol="0">
            <a:noAutofit/>
          </a:bodyPr>
          <a:lstStyle>
            <a:lvl1pPr>
              <a:defRPr lang="en-AU" noProof="0" dirty="0" smtClean="0"/>
            </a:lvl1pPr>
            <a:lvl2pPr>
              <a:buClr>
                <a:schemeClr val="accent1"/>
              </a:buClr>
              <a:defRPr lang="en-AU" noProof="0" dirty="0" smtClean="0"/>
            </a:lvl2pPr>
            <a:lvl3pPr>
              <a:buClrTx/>
              <a:defRPr lang="en-AU" noProof="0" dirty="0" smtClean="0"/>
            </a:lvl3pPr>
            <a:lvl4pPr marL="863978">
              <a:defRPr lang="en-AU" noProof="0" dirty="0" smtClean="0"/>
            </a:lvl4pPr>
            <a:lvl6pPr>
              <a:defRPr lang="en-AU" noProof="0" dirty="0" smtClean="0"/>
            </a:lvl6pPr>
            <a:lvl7pPr>
              <a:defRPr lang="en-AU" noProof="0" dirty="0" smtClean="0"/>
            </a:lvl7pPr>
            <a:lvl8pPr>
              <a:defRPr lang="en-AU" noProof="0" dirty="0" smtClean="0"/>
            </a:lvl8pPr>
            <a:lvl9pPr>
              <a:defRPr lang="en-AU" noProof="0" dirty="0" smtClean="0"/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3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247984" y="1151997"/>
            <a:ext cx="5472000" cy="4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AU"/>
              <a:t>Click on icon to insert picture. </a:t>
            </a:r>
            <a:br>
              <a:rPr lang="en-AU"/>
            </a:br>
            <a:r>
              <a:rPr lang="en-AU"/>
              <a:t>Then right click and send to back.</a:t>
            </a:r>
          </a:p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984559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AU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 hasCustomPrompt="1"/>
          </p:nvPr>
        </p:nvSpPr>
        <p:spPr>
          <a:xfrm>
            <a:off x="6247984" y="1152000"/>
            <a:ext cx="5472000" cy="4944000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AU"/>
              <a:t>Click on icon to insert char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8367" y="1152000"/>
            <a:ext cx="5472000" cy="4944000"/>
          </a:xfrm>
        </p:spPr>
        <p:txBody>
          <a:bodyPr vert="horz" lIns="0" tIns="0" rIns="0" bIns="0" rtlCol="0">
            <a:noAutofit/>
          </a:bodyPr>
          <a:lstStyle>
            <a:lvl1pPr>
              <a:defRPr lang="en-AU" noProof="0" dirty="0" smtClean="0"/>
            </a:lvl1pPr>
            <a:lvl2pPr>
              <a:buClr>
                <a:schemeClr val="accent1"/>
              </a:buClr>
              <a:defRPr lang="en-AU" noProof="0" dirty="0" smtClean="0"/>
            </a:lvl2pPr>
            <a:lvl3pPr>
              <a:defRPr lang="en-AU" noProof="0" dirty="0" smtClean="0"/>
            </a:lvl3pPr>
            <a:lvl4pPr marL="863978">
              <a:defRPr lang="en-AU" noProof="0" dirty="0" smtClean="0"/>
            </a:lvl4pPr>
            <a:lvl6pPr>
              <a:defRPr lang="en-AU" noProof="0" dirty="0" smtClean="0"/>
            </a:lvl6pPr>
            <a:lvl7pPr>
              <a:defRPr lang="en-AU" noProof="0" dirty="0" smtClean="0"/>
            </a:lvl7pPr>
            <a:lvl8pPr>
              <a:defRPr lang="en-AU" noProof="0" dirty="0" smtClean="0"/>
            </a:lvl8pPr>
            <a:lvl9pPr>
              <a:defRPr lang="en-AU" noProof="0" dirty="0" smtClean="0"/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3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8228600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/>
          <a:p>
            <a:r>
              <a:rPr lang="en-GB" noProof="0"/>
              <a:t>Click to edit Master title style</a:t>
            </a:r>
            <a:endParaRPr lang="en-AU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 hasCustomPrompt="1"/>
          </p:nvPr>
        </p:nvSpPr>
        <p:spPr>
          <a:xfrm>
            <a:off x="478368" y="1488000"/>
            <a:ext cx="11233633" cy="4608000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AU"/>
              <a:t>Click on icon to insert chart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80001" y="1152001"/>
            <a:ext cx="8880000" cy="24886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03312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/>
          <a:p>
            <a:r>
              <a:rPr lang="en-GB" noProof="0"/>
              <a:t>Click to edit Master title style</a:t>
            </a:r>
            <a:endParaRPr lang="en-AU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80000" y="1152001"/>
            <a:ext cx="8880000" cy="24886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 hasCustomPrompt="1"/>
          </p:nvPr>
        </p:nvSpPr>
        <p:spPr>
          <a:xfrm>
            <a:off x="478367" y="1488000"/>
            <a:ext cx="8880000" cy="4128000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AU"/>
              <a:t>Click on icon to insert char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81477" y="5710211"/>
            <a:ext cx="8880000" cy="408715"/>
          </a:xfrm>
        </p:spPr>
        <p:txBody>
          <a:bodyPr/>
          <a:lstStyle>
            <a:lvl1pPr>
              <a:spcAft>
                <a:spcPts val="0"/>
              </a:spcAft>
              <a:defRPr sz="1067" b="0" i="1" baseline="0"/>
            </a:lvl1pPr>
            <a:lvl2pPr marL="191995" indent="-191995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067" i="1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Notes to go here</a:t>
            </a:r>
          </a:p>
          <a:p>
            <a:pPr lvl="1"/>
            <a:r>
              <a:rPr lang="en-US"/>
              <a:t>Notes level 2</a:t>
            </a:r>
          </a:p>
        </p:txBody>
      </p:sp>
    </p:spTree>
    <p:extLst>
      <p:ext uri="{BB962C8B-B14F-4D97-AF65-F5344CB8AC3E}">
        <p14:creationId xmlns:p14="http://schemas.microsoft.com/office/powerpoint/2010/main" val="12053488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/>
          <a:p>
            <a:r>
              <a:rPr lang="en-GB" noProof="0"/>
              <a:t>Click to edit Master title style</a:t>
            </a:r>
            <a:endParaRPr lang="en-AU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240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0863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035007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1501" r="378" b="22451"/>
          <a:stretch/>
        </p:blipFill>
        <p:spPr>
          <a:xfrm>
            <a:off x="-675" y="2298000"/>
            <a:ext cx="12193353" cy="456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>
            <a:off x="1" y="3126524"/>
            <a:ext cx="12303001" cy="145938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27160302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64126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15472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88" r="778" b="8112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>
            <a:off x="1" y="4965172"/>
            <a:ext cx="12303001" cy="1459385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10267553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80469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1501" r="378" b="22451"/>
          <a:stretch/>
        </p:blipFill>
        <p:spPr>
          <a:xfrm>
            <a:off x="-675" y="2298000"/>
            <a:ext cx="12193353" cy="456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>
            <a:off x="1" y="3126524"/>
            <a:ext cx="12303001" cy="145938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1034161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17232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12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>
            <a:off x="1" y="3429001"/>
            <a:ext cx="12303001" cy="145938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16200069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80097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75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 flipH="1">
            <a:off x="-111001" y="3525012"/>
            <a:ext cx="12303001" cy="145938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35159492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40522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12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>
            <a:off x="1" y="3236980"/>
            <a:ext cx="12303001" cy="145938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17625799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Syd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54616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23" b="12741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 rot="10800000">
            <a:off x="-111001" y="3909054"/>
            <a:ext cx="12303001" cy="145938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3641808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Queensland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96099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00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 rot="10800000">
            <a:off x="-111001" y="4638748"/>
            <a:ext cx="12303001" cy="145938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3595991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U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23772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" t="15363" r="23171" b="42304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 rot="10800000" flipH="1">
            <a:off x="1" y="4483928"/>
            <a:ext cx="12303001" cy="145938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2"/>
            <a:ext cx="1536000" cy="2784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4165652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3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516669"/>
          </a:xfrm>
        </p:spPr>
        <p:txBody>
          <a:bodyPr anchor="t" anchorCtr="0"/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680001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36979"/>
            <a:ext cx="12192000" cy="186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947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775272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12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>
            <a:off x="1" y="3429001"/>
            <a:ext cx="12303001" cy="145938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32915423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White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2256000"/>
            <a:ext cx="6720000" cy="1208571"/>
          </a:xfrm>
        </p:spPr>
        <p:txBody>
          <a:bodyPr anchor="t" anchorCtr="0"/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4444778"/>
            <a:ext cx="12192000" cy="186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9839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Dark_green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>
              <a:solidFill>
                <a:schemeClr val="tx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2256000"/>
            <a:ext cx="6720000" cy="1208571"/>
          </a:xfrm>
        </p:spPr>
        <p:txBody>
          <a:bodyPr anchor="t" anchorCtr="0"/>
          <a:lstStyle>
            <a:lvl1pPr>
              <a:lnSpc>
                <a:spcPts val="4800"/>
              </a:lnSpc>
              <a:defRPr sz="4267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1" t="39391" b="49477"/>
          <a:stretch/>
        </p:blipFill>
        <p:spPr>
          <a:xfrm>
            <a:off x="5806498" y="5724942"/>
            <a:ext cx="6385501" cy="48595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3" t="26064" r="2937" b="64080"/>
          <a:stretch/>
        </p:blipFill>
        <p:spPr>
          <a:xfrm>
            <a:off x="3391818" y="4485122"/>
            <a:ext cx="6831897" cy="43024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194" b="92597"/>
          <a:stretch/>
        </p:blipFill>
        <p:spPr>
          <a:xfrm>
            <a:off x="5" y="4071070"/>
            <a:ext cx="4896071" cy="323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0"/>
            <a:ext cx="1536000" cy="230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367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heading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999" y="1152000"/>
            <a:ext cx="8880000" cy="4944000"/>
          </a:xfrm>
        </p:spPr>
        <p:txBody>
          <a:bodyPr/>
          <a:lstStyle>
            <a:lvl2pPr>
              <a:buClr>
                <a:schemeClr val="accent1"/>
              </a:buClr>
              <a:defRPr/>
            </a:lvl2pPr>
            <a:lvl3pPr>
              <a:buClrTx/>
              <a:defRPr/>
            </a:lvl3pPr>
            <a:lvl5pPr>
              <a:defRPr baseline="0"/>
            </a:lvl5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80000" y="624000"/>
            <a:ext cx="8880000" cy="282013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0000" y="240000"/>
            <a:ext cx="8880000" cy="341973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01" y="6369051"/>
            <a:ext cx="7548033" cy="223743"/>
          </a:xfrm>
        </p:spPr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200463-82E3-4197-AF92-19590EE9E500}"/>
              </a:ext>
            </a:extLst>
          </p:cNvPr>
          <p:cNvSpPr/>
          <p:nvPr/>
        </p:nvSpPr>
        <p:spPr>
          <a:xfrm>
            <a:off x="10083800" y="240000"/>
            <a:ext cx="1628200" cy="38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>
                <a:solidFill>
                  <a:schemeClr val="bg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712079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9999" y="1152000"/>
            <a:ext cx="8880000" cy="4944000"/>
          </a:xfrm>
        </p:spPr>
        <p:txBody>
          <a:bodyPr/>
          <a:lstStyle>
            <a:lvl2pPr>
              <a:buClr>
                <a:schemeClr val="accent1"/>
              </a:buClr>
              <a:defRPr/>
            </a:lvl2pPr>
            <a:lvl3pPr>
              <a:buClrTx/>
              <a:defRPr/>
            </a:lvl3pPr>
            <a:lvl5pPr>
              <a:defRPr baseline="0"/>
            </a:lvl5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0000" y="260647"/>
            <a:ext cx="8880000" cy="480055"/>
          </a:xfrm>
        </p:spPr>
        <p:txBody>
          <a:bodyPr anchor="t" anchorCtr="0"/>
          <a:lstStyle>
            <a:lvl1pPr>
              <a:lnSpc>
                <a:spcPts val="2533"/>
              </a:lnSpc>
              <a:defRPr lang="en-AU" dirty="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711360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0" y="240000"/>
            <a:ext cx="8880000" cy="336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AU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8365" y="1152000"/>
            <a:ext cx="5472000" cy="4944000"/>
          </a:xfrm>
        </p:spPr>
        <p:txBody>
          <a:bodyPr vert="horz" lIns="0" tIns="0" rIns="0" bIns="0" rtlCol="0">
            <a:noAutofit/>
          </a:bodyPr>
          <a:lstStyle>
            <a:lvl1pPr>
              <a:defRPr lang="en-AU" noProof="0" dirty="0" smtClean="0"/>
            </a:lvl1pPr>
            <a:lvl2pPr>
              <a:buClr>
                <a:schemeClr val="accent1"/>
              </a:buClr>
              <a:defRPr lang="en-AU" noProof="0" dirty="0" smtClean="0"/>
            </a:lvl2pPr>
            <a:lvl3pPr>
              <a:buClrTx/>
              <a:defRPr lang="en-AU" noProof="0" dirty="0" smtClean="0"/>
            </a:lvl3pPr>
            <a:lvl4pPr marL="863978" indent="-239994">
              <a:defRPr lang="en-AU" noProof="0" dirty="0" smtClean="0"/>
            </a:lvl4pPr>
            <a:lvl5pPr>
              <a:defRPr lang="en-AU" sz="1600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lang="en-AU" noProof="0" dirty="0" smtClean="0"/>
            </a:lvl6pPr>
            <a:lvl7pPr>
              <a:defRPr lang="en-AU" noProof="0" dirty="0" smtClean="0"/>
            </a:lvl7pPr>
            <a:lvl8pPr>
              <a:defRPr lang="en-AU" noProof="0" dirty="0" smtClean="0"/>
            </a:lvl8pPr>
            <a:lvl9pPr>
              <a:defRPr lang="en-AU" noProof="0" dirty="0" smtClean="0"/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marL="1103972" lvl="4" indent="-239994" algn="l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Font typeface="Arial" pitchFamily="34" charset="0"/>
              <a:buChar char="–"/>
            </a:pPr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40000" y="1152000"/>
            <a:ext cx="5472000" cy="4944000"/>
          </a:xfrm>
        </p:spPr>
        <p:txBody>
          <a:bodyPr vert="horz" lIns="0" tIns="0" rIns="0" bIns="0" rtlCol="0">
            <a:noAutofit/>
          </a:bodyPr>
          <a:lstStyle>
            <a:lvl1pPr>
              <a:defRPr lang="en-AU" noProof="0" dirty="0" smtClean="0"/>
            </a:lvl1pPr>
            <a:lvl2pPr>
              <a:buClr>
                <a:schemeClr val="accent1"/>
              </a:buClr>
              <a:defRPr lang="en-AU" noProof="0" dirty="0" smtClean="0"/>
            </a:lvl2pPr>
            <a:lvl3pPr>
              <a:buClrTx/>
              <a:defRPr lang="en-AU" noProof="0" dirty="0" smtClean="0"/>
            </a:lvl3pPr>
            <a:lvl4pPr>
              <a:defRPr lang="en-AU" noProof="0" dirty="0" smtClean="0"/>
            </a:lvl4pPr>
            <a:lvl5pPr>
              <a:defRPr lang="en-AU" noProof="0" dirty="0" smtClean="0"/>
            </a:lvl5pPr>
            <a:lvl6pPr>
              <a:defRPr lang="en-AU" noProof="0" dirty="0" smtClean="0"/>
            </a:lvl6pPr>
            <a:lvl7pPr>
              <a:defRPr lang="en-AU" noProof="0" dirty="0" smtClean="0"/>
            </a:lvl7pPr>
            <a:lvl8pPr>
              <a:defRPr lang="en-AU" noProof="0" dirty="0" smtClean="0"/>
            </a:lvl8pPr>
            <a:lvl9pPr>
              <a:defRPr lang="en-AU" noProof="0" dirty="0" smtClean="0"/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995058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AU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8367" y="1151999"/>
            <a:ext cx="5472000" cy="4944000"/>
          </a:xfrm>
        </p:spPr>
        <p:txBody>
          <a:bodyPr vert="horz" lIns="0" tIns="0" rIns="0" bIns="0" rtlCol="0">
            <a:noAutofit/>
          </a:bodyPr>
          <a:lstStyle>
            <a:lvl1pPr>
              <a:defRPr lang="en-AU" noProof="0" dirty="0" smtClean="0"/>
            </a:lvl1pPr>
            <a:lvl2pPr>
              <a:buClr>
                <a:schemeClr val="accent1"/>
              </a:buClr>
              <a:defRPr lang="en-AU" noProof="0" dirty="0" smtClean="0"/>
            </a:lvl2pPr>
            <a:lvl3pPr>
              <a:buClrTx/>
              <a:defRPr lang="en-AU" noProof="0" dirty="0" smtClean="0"/>
            </a:lvl3pPr>
            <a:lvl4pPr marL="863978">
              <a:defRPr lang="en-AU" noProof="0" dirty="0" smtClean="0"/>
            </a:lvl4pPr>
            <a:lvl6pPr>
              <a:defRPr lang="en-AU" noProof="0" dirty="0" smtClean="0"/>
            </a:lvl6pPr>
            <a:lvl7pPr>
              <a:defRPr lang="en-AU" noProof="0" dirty="0" smtClean="0"/>
            </a:lvl7pPr>
            <a:lvl8pPr>
              <a:defRPr lang="en-AU" noProof="0" dirty="0" smtClean="0"/>
            </a:lvl8pPr>
            <a:lvl9pPr>
              <a:defRPr lang="en-AU" noProof="0" dirty="0" smtClean="0"/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3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247984" y="1151997"/>
            <a:ext cx="5472000" cy="4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AU"/>
              <a:t>Click on icon to insert picture. </a:t>
            </a:r>
            <a:br>
              <a:rPr lang="en-AU"/>
            </a:br>
            <a:r>
              <a:rPr lang="en-AU"/>
              <a:t>Then right click and send to back.</a:t>
            </a:r>
          </a:p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836146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AU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 hasCustomPrompt="1"/>
          </p:nvPr>
        </p:nvSpPr>
        <p:spPr>
          <a:xfrm>
            <a:off x="6247984" y="1152000"/>
            <a:ext cx="5472000" cy="4944000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AU"/>
              <a:t>Click on icon to insert char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8367" y="1152000"/>
            <a:ext cx="5472000" cy="4944000"/>
          </a:xfrm>
        </p:spPr>
        <p:txBody>
          <a:bodyPr vert="horz" lIns="0" tIns="0" rIns="0" bIns="0" rtlCol="0">
            <a:noAutofit/>
          </a:bodyPr>
          <a:lstStyle>
            <a:lvl1pPr>
              <a:defRPr lang="en-AU" noProof="0" dirty="0" smtClean="0"/>
            </a:lvl1pPr>
            <a:lvl2pPr>
              <a:buClr>
                <a:schemeClr val="accent1"/>
              </a:buClr>
              <a:defRPr lang="en-AU" noProof="0" dirty="0" smtClean="0"/>
            </a:lvl2pPr>
            <a:lvl3pPr>
              <a:defRPr lang="en-AU" noProof="0" dirty="0" smtClean="0"/>
            </a:lvl3pPr>
            <a:lvl4pPr marL="863978">
              <a:defRPr lang="en-AU" noProof="0" dirty="0" smtClean="0"/>
            </a:lvl4pPr>
            <a:lvl6pPr>
              <a:defRPr lang="en-AU" noProof="0" dirty="0" smtClean="0"/>
            </a:lvl6pPr>
            <a:lvl7pPr>
              <a:defRPr lang="en-AU" noProof="0" dirty="0" smtClean="0"/>
            </a:lvl7pPr>
            <a:lvl8pPr>
              <a:defRPr lang="en-AU" noProof="0" dirty="0" smtClean="0"/>
            </a:lvl8pPr>
            <a:lvl9pPr>
              <a:defRPr lang="en-AU" noProof="0" dirty="0" smtClean="0"/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3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986666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AU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 hasCustomPrompt="1"/>
          </p:nvPr>
        </p:nvSpPr>
        <p:spPr>
          <a:xfrm>
            <a:off x="478368" y="1488000"/>
            <a:ext cx="11233633" cy="4608000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AU"/>
              <a:t>Click on icon to insert chart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80001" y="1152001"/>
            <a:ext cx="8880000" cy="24886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01587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AU" noProof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192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80000" y="1152001"/>
            <a:ext cx="8880000" cy="24886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 hasCustomPrompt="1"/>
          </p:nvPr>
        </p:nvSpPr>
        <p:spPr>
          <a:xfrm>
            <a:off x="478367" y="1488000"/>
            <a:ext cx="8880000" cy="4128000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AU"/>
              <a:t>Click on icon to insert char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81477" y="5710211"/>
            <a:ext cx="8880000" cy="408715"/>
          </a:xfrm>
        </p:spPr>
        <p:txBody>
          <a:bodyPr/>
          <a:lstStyle>
            <a:lvl1pPr>
              <a:spcAft>
                <a:spcPts val="0"/>
              </a:spcAft>
              <a:defRPr sz="1067" b="0" i="1" baseline="0"/>
            </a:lvl1pPr>
            <a:lvl2pPr marL="191995" indent="-191995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067" i="1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Notes to go here</a:t>
            </a:r>
          </a:p>
          <a:p>
            <a:pPr lvl="1"/>
            <a:r>
              <a:rPr lang="en-US"/>
              <a:t>Notes level 2</a:t>
            </a:r>
          </a:p>
        </p:txBody>
      </p:sp>
    </p:spTree>
    <p:extLst>
      <p:ext uri="{BB962C8B-B14F-4D97-AF65-F5344CB8AC3E}">
        <p14:creationId xmlns:p14="http://schemas.microsoft.com/office/powerpoint/2010/main" val="42605884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40000"/>
            <a:ext cx="8880000" cy="336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AU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0000" y="624000"/>
            <a:ext cx="8880000" cy="240000"/>
          </a:xfrm>
        </p:spPr>
        <p:txBody>
          <a:bodyPr/>
          <a:lstStyle>
            <a:lvl1pPr>
              <a:spcAft>
                <a:spcPts val="0"/>
              </a:spcAft>
              <a:defRPr sz="1600" b="0" cap="none" baseline="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b="0">
                <a:solidFill>
                  <a:schemeClr val="bg2"/>
                </a:solidFill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6716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82193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75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 flipH="1">
            <a:off x="-111001" y="3525012"/>
            <a:ext cx="12303001" cy="145938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9726437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9476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Melb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58885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12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>
            <a:off x="1" y="3236980"/>
            <a:ext cx="12303001" cy="145938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766749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Syd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0441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23" b="12741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 rot="10800000">
            <a:off x="-111001" y="3909054"/>
            <a:ext cx="12303001" cy="145938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2799253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Queensland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64830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00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 rot="10800000">
            <a:off x="-111001" y="4638748"/>
            <a:ext cx="12303001" cy="145938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3485515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_U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37430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800"/>
              </a:lnSpc>
              <a:spcBef>
                <a:spcPct val="0"/>
              </a:spcBef>
              <a:spcAft>
                <a:spcPct val="0"/>
              </a:spcAft>
            </a:pPr>
            <a:endParaRPr lang="en-US" sz="4267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" t="15363" r="23171" b="42304"/>
          <a:stretch/>
        </p:blipFill>
        <p:spPr>
          <a:xfrm>
            <a:off x="0" y="2298000"/>
            <a:ext cx="12192000" cy="456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9"/>
          <a:stretch/>
        </p:blipFill>
        <p:spPr>
          <a:xfrm rot="10800000" flipH="1">
            <a:off x="1" y="4483928"/>
            <a:ext cx="12303001" cy="145938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2"/>
            <a:ext cx="1536000" cy="2784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1231107"/>
          </a:xfrm>
        </p:spPr>
        <p:txBody>
          <a:bodyPr anchor="t" anchorCtr="0">
            <a:spAutoFit/>
          </a:bodyPr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779285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</p:spTree>
    <p:extLst>
      <p:ext uri="{BB962C8B-B14F-4D97-AF65-F5344CB8AC3E}">
        <p14:creationId xmlns:p14="http://schemas.microsoft.com/office/powerpoint/2010/main" val="2806717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3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432000"/>
            <a:ext cx="7681395" cy="516669"/>
          </a:xfrm>
        </p:spPr>
        <p:txBody>
          <a:bodyPr anchor="t" anchorCtr="0"/>
          <a:lstStyle>
            <a:lvl1pPr>
              <a:lnSpc>
                <a:spcPts val="4800"/>
              </a:lnSpc>
              <a:defRPr sz="4267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AU" noProof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00" y="1680001"/>
            <a:ext cx="7680000" cy="311460"/>
          </a:xfrm>
        </p:spPr>
        <p:txBody>
          <a:bodyPr/>
          <a:lstStyle>
            <a:lvl1pPr marL="0" indent="0" algn="l">
              <a:buNone/>
              <a:defRPr sz="16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/>
              <a:t>Click to edit master subtitle style level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36979"/>
            <a:ext cx="12192000" cy="186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345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2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20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vmlDrawing" Target="../drawings/vmlDrawing10.v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922372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8367" y="239999"/>
            <a:ext cx="88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AU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367" y="1152001"/>
            <a:ext cx="8881996" cy="48171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480000" y="912000"/>
            <a:ext cx="11232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78368" y="6369051"/>
            <a:ext cx="7548033" cy="22374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67" cap="none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249765" y="6369051"/>
            <a:ext cx="1462236" cy="22374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67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000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None/>
        <a:defRPr sz="1600" b="0" kern="1200" baseline="0">
          <a:solidFill>
            <a:schemeClr val="tx2"/>
          </a:solidFill>
          <a:latin typeface="+mn-lt"/>
          <a:ea typeface="+mn-ea"/>
          <a:cs typeface="Arial" pitchFamily="34" charset="0"/>
        </a:defRPr>
      </a:lvl1pPr>
      <a:lvl2pPr marL="383990" indent="-383990" algn="l" defTabSz="1219170" rtl="0" eaLnBrk="1" latinLnBrk="0" hangingPunct="1">
        <a:spcBef>
          <a:spcPts val="0"/>
        </a:spcBef>
        <a:spcAft>
          <a:spcPts val="533"/>
        </a:spcAft>
        <a:buClr>
          <a:schemeClr val="bg2"/>
        </a:buClr>
        <a:buFont typeface="Wingdings 3" panose="05040102010807070707" pitchFamily="18" charset="2"/>
        <a:buChar char="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2pPr>
      <a:lvl3pPr marL="623984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3pPr>
      <a:lvl4pPr marL="863978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4pPr>
      <a:lvl5pPr marL="1103972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Arial" pitchFamily="34" charset="0"/>
        </a:defRPr>
      </a:lvl5pPr>
      <a:lvl6pPr marL="1343966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6pPr>
      <a:lvl7pPr marL="1583960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7pPr>
      <a:lvl8pPr marL="1823954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8pPr>
      <a:lvl9pPr marL="2063948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200715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"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8367" y="239999"/>
            <a:ext cx="88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AU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367" y="1152001"/>
            <a:ext cx="8881996" cy="48171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480000" y="912000"/>
            <a:ext cx="11232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78368" y="6369051"/>
            <a:ext cx="7548033" cy="22374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67" cap="none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249765" y="6369051"/>
            <a:ext cx="1462236" cy="22374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67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191BCFD-9AD1-44EE-8189-3E3D24BBB9A3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0" y="264001"/>
            <a:ext cx="1536000" cy="27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852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None/>
        <a:defRPr sz="1600" b="0" kern="1200" baseline="0">
          <a:solidFill>
            <a:schemeClr val="tx2"/>
          </a:solidFill>
          <a:latin typeface="+mn-lt"/>
          <a:ea typeface="+mn-ea"/>
          <a:cs typeface="Arial" pitchFamily="34" charset="0"/>
        </a:defRPr>
      </a:lvl1pPr>
      <a:lvl2pPr marL="383990" indent="-383990" algn="l" defTabSz="1219170" rtl="0" eaLnBrk="1" latinLnBrk="0" hangingPunct="1">
        <a:spcBef>
          <a:spcPts val="0"/>
        </a:spcBef>
        <a:spcAft>
          <a:spcPts val="533"/>
        </a:spcAft>
        <a:buClr>
          <a:schemeClr val="bg2"/>
        </a:buClr>
        <a:buFont typeface="Wingdings 3" panose="05040102010807070707" pitchFamily="18" charset="2"/>
        <a:buChar char="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2pPr>
      <a:lvl3pPr marL="623984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3pPr>
      <a:lvl4pPr marL="863978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4pPr>
      <a:lvl5pPr marL="1103972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Arial" pitchFamily="34" charset="0"/>
        </a:defRPr>
      </a:lvl5pPr>
      <a:lvl6pPr marL="1343966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6pPr>
      <a:lvl7pPr marL="1583960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7pPr>
      <a:lvl8pPr marL="1823954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8pPr>
      <a:lvl9pPr marL="2063948" indent="-239994" algn="l" defTabSz="1219170" rtl="0" eaLnBrk="1" latinLnBrk="0" hangingPunct="1">
        <a:spcBef>
          <a:spcPts val="0"/>
        </a:spcBef>
        <a:spcAft>
          <a:spcPts val="533"/>
        </a:spcAft>
        <a:buClr>
          <a:schemeClr val="tx1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hyperlink" Target="mailto:mshobeirinejad@transurban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CBF8A-AEC6-E34E-801F-F71CC7F84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000" y="328764"/>
            <a:ext cx="8700945" cy="98488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 dirty="0"/>
              <a:t>Forecasting under COVID: </a:t>
            </a:r>
            <a:br>
              <a:rPr lang="en-US" sz="3200" dirty="0"/>
            </a:br>
            <a:r>
              <a:rPr lang="en-US" sz="3200" dirty="0"/>
              <a:t>when simple works - and when it doesn’t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6598C-634B-2944-A35B-E22F015204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000" y="1459111"/>
            <a:ext cx="7441584" cy="67341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err="1"/>
              <a:t>useR</a:t>
            </a:r>
            <a:r>
              <a:rPr lang="en-US" dirty="0"/>
              <a:t>!, 5–9 July, 2021</a:t>
            </a:r>
          </a:p>
          <a:p>
            <a:r>
              <a:rPr lang="en-US" dirty="0">
                <a:cs typeface="Arial"/>
              </a:rPr>
              <a:t>Dr. Maryam Shobeirinejad, Transurban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860BD0B-17B4-4F22-9ED6-E626D253DC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326" y="924442"/>
            <a:ext cx="1911458" cy="1434963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422EABA5-0503-4564-BA28-754F0274E291}"/>
              </a:ext>
            </a:extLst>
          </p:cNvPr>
          <p:cNvSpPr txBox="1">
            <a:spLocks/>
          </p:cNvSpPr>
          <p:nvPr/>
        </p:nvSpPr>
        <p:spPr>
          <a:xfrm>
            <a:off x="4750416" y="1459111"/>
            <a:ext cx="7441584" cy="6734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  <a:defRPr sz="1600" b="0" kern="1200" cap="none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bg2"/>
              </a:buClr>
              <a:buFont typeface="Wingdings 3" panose="050401020108070707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1219170" indent="0" algn="ctr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828754" indent="0" algn="ctr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2438339" indent="0" algn="ctr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Font typeface="Arial" pitchFamily="34" charset="0"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 marL="3047924" indent="0" algn="ctr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6pPr>
            <a:lvl7pPr marL="3657509" indent="0" algn="ctr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7pPr>
            <a:lvl8pPr marL="4267093" indent="0" algn="ctr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8pPr>
            <a:lvl9pPr marL="4876678" indent="0" algn="ctr" defTabSz="1219170" rtl="0" eaLnBrk="1" latinLnBrk="0" hangingPunct="1"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r>
              <a:rPr lang="en-US" dirty="0">
                <a:cs typeface="Arial"/>
              </a:rPr>
              <a:t>Email: </a:t>
            </a:r>
            <a:r>
              <a:rPr lang="en-US" dirty="0">
                <a:cs typeface="Arial"/>
                <a:hlinkClick r:id="rId4"/>
              </a:rPr>
              <a:t>mshobeirinejad@transurban.com</a:t>
            </a:r>
            <a:endParaRPr lang="en-US" dirty="0">
              <a:cs typeface="Arial"/>
            </a:endParaRPr>
          </a:p>
          <a:p>
            <a:r>
              <a:rPr lang="en-US" dirty="0">
                <a:cs typeface="Arial"/>
              </a:rPr>
              <a:t>Twitter: @m_shobeirinej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343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B6141-6AED-2B45-9834-62BE3D016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ecasting during COVID-19 made us hum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424D49-64D3-C949-80B9-EDD761F02C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04070" y="6523884"/>
            <a:ext cx="1462236" cy="223743"/>
          </a:xfrm>
        </p:spPr>
        <p:txBody>
          <a:bodyPr/>
          <a:lstStyle/>
          <a:p>
            <a:r>
              <a:rPr lang="en-AU"/>
              <a:t>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4757EF-1FC6-BB40-A9A5-54B970E68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Our ways of working had to chan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E5A0CC-DB53-9B4D-8721-F25A2FF6E8CC}"/>
              </a:ext>
            </a:extLst>
          </p:cNvPr>
          <p:cNvSpPr/>
          <p:nvPr/>
        </p:nvSpPr>
        <p:spPr>
          <a:xfrm>
            <a:off x="478368" y="1130691"/>
            <a:ext cx="11235266" cy="129804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60F3445-233F-6243-976E-46CEDFC95DDB}"/>
              </a:ext>
            </a:extLst>
          </p:cNvPr>
          <p:cNvSpPr/>
          <p:nvPr/>
        </p:nvSpPr>
        <p:spPr>
          <a:xfrm>
            <a:off x="478366" y="986321"/>
            <a:ext cx="2696349" cy="4175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Our forecasting worl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414992-CC40-9446-95F7-8D644B2CE9EF}"/>
              </a:ext>
            </a:extLst>
          </p:cNvPr>
          <p:cNvSpPr txBox="1"/>
          <p:nvPr/>
        </p:nvSpPr>
        <p:spPr>
          <a:xfrm>
            <a:off x="538953" y="1438221"/>
            <a:ext cx="52945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400"/>
              <a:t>Fast-moving corporate environment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40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400"/>
              <a:t>High uncertaint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A4E603-8A44-42BD-B666-869DC153CB16}"/>
              </a:ext>
            </a:extLst>
          </p:cNvPr>
          <p:cNvSpPr txBox="1"/>
          <p:nvPr/>
        </p:nvSpPr>
        <p:spPr>
          <a:xfrm>
            <a:off x="7459579" y="2980902"/>
            <a:ext cx="4254055" cy="28623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Success looks like</a:t>
            </a:r>
            <a:r>
              <a:rPr lang="en-US"/>
              <a:t>: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igh accura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terpre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bject matter expert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bility to rapidly respond to changing environment</a:t>
            </a:r>
          </a:p>
        </p:txBody>
      </p:sp>
      <p:sp>
        <p:nvSpPr>
          <p:cNvPr id="40" name="Arrow: Down 39">
            <a:extLst>
              <a:ext uri="{FF2B5EF4-FFF2-40B4-BE49-F238E27FC236}">
                <a16:creationId xmlns:a16="http://schemas.microsoft.com/office/drawing/2014/main" id="{DC51DAB2-8680-4E9F-A56E-B47C9F5B3693}"/>
              </a:ext>
            </a:extLst>
          </p:cNvPr>
          <p:cNvSpPr/>
          <p:nvPr/>
        </p:nvSpPr>
        <p:spPr>
          <a:xfrm rot="16200000">
            <a:off x="6232384" y="3721567"/>
            <a:ext cx="864916" cy="1093554"/>
          </a:xfrm>
          <a:prstGeom prst="down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grpSp>
        <p:nvGrpSpPr>
          <p:cNvPr id="7" name="Group 6" descr="Circular diagram, title team challenges:&#10;the challenges are:&#10;Testing large number of models&#10;Quick updates&#10;Reproducibility&#10;Versioning&#10;Minimising error&#10;Communicating outcomes &#10;Increasing collaboration&#10;&#10;">
            <a:extLst>
              <a:ext uri="{FF2B5EF4-FFF2-40B4-BE49-F238E27FC236}">
                <a16:creationId xmlns:a16="http://schemas.microsoft.com/office/drawing/2014/main" id="{D2BCC0DC-DA35-914E-8264-467DF248B7EF}"/>
              </a:ext>
            </a:extLst>
          </p:cNvPr>
          <p:cNvGrpSpPr/>
          <p:nvPr/>
        </p:nvGrpSpPr>
        <p:grpSpPr>
          <a:xfrm>
            <a:off x="478366" y="2663189"/>
            <a:ext cx="5862276" cy="3590150"/>
            <a:chOff x="5680364" y="1130692"/>
            <a:chExt cx="6033267" cy="5214690"/>
          </a:xfrm>
        </p:grpSpPr>
        <p:graphicFrame>
          <p:nvGraphicFramePr>
            <p:cNvPr id="38" name="Diagram 37">
              <a:extLst>
                <a:ext uri="{FF2B5EF4-FFF2-40B4-BE49-F238E27FC236}">
                  <a16:creationId xmlns:a16="http://schemas.microsoft.com/office/drawing/2014/main" id="{5CBBBCAD-6FF1-4508-BF69-0C2B5E10F10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33773323"/>
                </p:ext>
              </p:extLst>
            </p:nvPr>
          </p:nvGraphicFramePr>
          <p:xfrm>
            <a:off x="5953488" y="1157603"/>
            <a:ext cx="5504951" cy="507639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E587FF8-AD4C-47C0-8923-3BC54387F66D}"/>
                </a:ext>
              </a:extLst>
            </p:cNvPr>
            <p:cNvSpPr/>
            <p:nvPr/>
          </p:nvSpPr>
          <p:spPr>
            <a:xfrm>
              <a:off x="5680364" y="1130692"/>
              <a:ext cx="6033267" cy="52146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B21ADFC-3133-4F8B-A7D4-375D092BCC60}"/>
                </a:ext>
              </a:extLst>
            </p:cNvPr>
            <p:cNvSpPr/>
            <p:nvPr/>
          </p:nvSpPr>
          <p:spPr>
            <a:xfrm>
              <a:off x="7704856" y="3333920"/>
              <a:ext cx="2002212" cy="41750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Team Challenges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2DECE1AC-EDC8-9A4E-9E82-B1190211625D}"/>
              </a:ext>
            </a:extLst>
          </p:cNvPr>
          <p:cNvSpPr/>
          <p:nvPr/>
        </p:nvSpPr>
        <p:spPr>
          <a:xfrm>
            <a:off x="4098801" y="1180453"/>
            <a:ext cx="699407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endParaRPr lang="en-US" sz="1400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400" dirty="0"/>
              <a:t>Many stakeholders and high need for subject matter expertis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400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400" dirty="0"/>
              <a:t>We require a high level of interpretability and accuracy</a:t>
            </a:r>
          </a:p>
        </p:txBody>
      </p:sp>
    </p:spTree>
    <p:extLst>
      <p:ext uri="{BB962C8B-B14F-4D97-AF65-F5344CB8AC3E}">
        <p14:creationId xmlns:p14="http://schemas.microsoft.com/office/powerpoint/2010/main" val="2878151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B6141-6AED-2B45-9834-62BE3D016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ecosystem was built to efficiently reuse our 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424D49-64D3-C949-80B9-EDD761F02C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9910" y="6529998"/>
            <a:ext cx="1462236" cy="223743"/>
          </a:xfrm>
        </p:spPr>
        <p:txBody>
          <a:bodyPr/>
          <a:lstStyle/>
          <a:p>
            <a:r>
              <a:rPr lang="en-AU"/>
              <a:t>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4757EF-1FC6-BB40-A9A5-54B970E68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We reduced risk and increased communication by creating a streamlined proces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9C85AD1-C570-3D4C-9D2C-4CA5970C1B32}"/>
              </a:ext>
            </a:extLst>
          </p:cNvPr>
          <p:cNvSpPr/>
          <p:nvPr/>
        </p:nvSpPr>
        <p:spPr>
          <a:xfrm>
            <a:off x="6447034" y="4889040"/>
            <a:ext cx="5257415" cy="170375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CF04AA-6E2A-403E-B1BA-112F16BD3244}"/>
              </a:ext>
            </a:extLst>
          </p:cNvPr>
          <p:cNvSpPr/>
          <p:nvPr/>
        </p:nvSpPr>
        <p:spPr>
          <a:xfrm>
            <a:off x="6569864" y="5069071"/>
            <a:ext cx="501175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400"/>
              <a:t>Combining tool chains gave us the flexibility we needed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40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400"/>
              <a:t>Out toolchain explicitly built for maximizing collaboratio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40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400"/>
              <a:t>Extra flexibility of state space switching helped managing impacts of 2020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4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D2FF2A3-8EDA-4CB5-A83D-0EF613929524}"/>
              </a:ext>
            </a:extLst>
          </p:cNvPr>
          <p:cNvSpPr/>
          <p:nvPr/>
        </p:nvSpPr>
        <p:spPr>
          <a:xfrm>
            <a:off x="498699" y="1130692"/>
            <a:ext cx="5825504" cy="546210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756293-26FA-4ADD-98F7-505522CAF94F}"/>
              </a:ext>
            </a:extLst>
          </p:cNvPr>
          <p:cNvSpPr/>
          <p:nvPr/>
        </p:nvSpPr>
        <p:spPr>
          <a:xfrm>
            <a:off x="498698" y="986321"/>
            <a:ext cx="3660148" cy="43938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Approach / Tool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7D468E-6385-4E59-B1A5-ADB4A4BC5B07}"/>
              </a:ext>
            </a:extLst>
          </p:cNvPr>
          <p:cNvSpPr/>
          <p:nvPr/>
        </p:nvSpPr>
        <p:spPr>
          <a:xfrm>
            <a:off x="3690873" y="1895101"/>
            <a:ext cx="2533533" cy="2842101"/>
          </a:xfrm>
          <a:prstGeom prst="rect">
            <a:avLst/>
          </a:prstGeom>
          <a:noFill/>
          <a:ln>
            <a:solidFill>
              <a:schemeClr val="bg2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5FFDB41-BD86-4DBA-9349-F8A6987A109F}"/>
              </a:ext>
            </a:extLst>
          </p:cNvPr>
          <p:cNvSpPr/>
          <p:nvPr/>
        </p:nvSpPr>
        <p:spPr>
          <a:xfrm>
            <a:off x="764134" y="1995839"/>
            <a:ext cx="2335092" cy="10705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Project repository </a:t>
            </a:r>
          </a:p>
          <a:p>
            <a:pPr algn="ctr"/>
            <a:r>
              <a:rPr lang="en-US" sz="1100">
                <a:solidFill>
                  <a:schemeClr val="tx1"/>
                </a:solidFill>
              </a:rPr>
              <a:t>(Manage inputs / outputs and calculations</a:t>
            </a:r>
          </a:p>
          <a:p>
            <a:pPr algn="ctr"/>
            <a:r>
              <a:rPr lang="en-US" sz="1100">
                <a:solidFill>
                  <a:schemeClr val="tx1"/>
                </a:solidFill>
              </a:rPr>
              <a:t>.</a:t>
            </a:r>
            <a:r>
              <a:rPr lang="en-US" sz="1100" err="1">
                <a:solidFill>
                  <a:schemeClr val="tx1"/>
                </a:solidFill>
              </a:rPr>
              <a:t>Rmd</a:t>
            </a:r>
            <a:r>
              <a:rPr lang="en-US" sz="1100">
                <a:solidFill>
                  <a:schemeClr val="tx1"/>
                </a:solidFill>
              </a:rPr>
              <a:t>, .csv, .xlsx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7895EB3-8AD2-4B2D-BCCF-BB0508F8EEE6}"/>
              </a:ext>
            </a:extLst>
          </p:cNvPr>
          <p:cNvSpPr txBox="1"/>
          <p:nvPr/>
        </p:nvSpPr>
        <p:spPr>
          <a:xfrm>
            <a:off x="3690873" y="1533124"/>
            <a:ext cx="2533533" cy="30573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00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Reusable process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F0C9F9-63EE-4A6F-9C73-31B79407C40B}"/>
              </a:ext>
            </a:extLst>
          </p:cNvPr>
          <p:cNvSpPr/>
          <p:nvPr/>
        </p:nvSpPr>
        <p:spPr>
          <a:xfrm>
            <a:off x="3833280" y="2006682"/>
            <a:ext cx="2277655" cy="607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Package developme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1A4A29B-5B51-40E6-998C-E4924410BE44}"/>
              </a:ext>
            </a:extLst>
          </p:cNvPr>
          <p:cNvSpPr txBox="1"/>
          <p:nvPr/>
        </p:nvSpPr>
        <p:spPr>
          <a:xfrm>
            <a:off x="620536" y="1531082"/>
            <a:ext cx="26046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>
                <a:solidFill>
                  <a:schemeClr val="bg1"/>
                </a:solidFill>
              </a:rPr>
              <a:t>Project specific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EF093CD-7EBC-4F50-83A5-A0EF2D5EF564}"/>
              </a:ext>
            </a:extLst>
          </p:cNvPr>
          <p:cNvSpPr/>
          <p:nvPr/>
        </p:nvSpPr>
        <p:spPr>
          <a:xfrm>
            <a:off x="620536" y="1895101"/>
            <a:ext cx="2604619" cy="2830971"/>
          </a:xfrm>
          <a:prstGeom prst="rect">
            <a:avLst/>
          </a:prstGeom>
          <a:noFill/>
          <a:ln>
            <a:solidFill>
              <a:schemeClr val="bg2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4F182A3-7667-4805-B4E3-6D79E9C2FACE}"/>
              </a:ext>
            </a:extLst>
          </p:cNvPr>
          <p:cNvSpPr/>
          <p:nvPr/>
        </p:nvSpPr>
        <p:spPr>
          <a:xfrm>
            <a:off x="764134" y="3871133"/>
            <a:ext cx="2335090" cy="774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200" err="1">
                <a:solidFill>
                  <a:schemeClr val="tx1"/>
                </a:solidFill>
              </a:rPr>
              <a:t>Github</a:t>
            </a:r>
            <a:r>
              <a:rPr lang="en-AU" sz="1200">
                <a:solidFill>
                  <a:schemeClr val="tx1"/>
                </a:solidFill>
              </a:rPr>
              <a:t> Versioning / Documentation </a:t>
            </a:r>
            <a:r>
              <a:rPr lang="en-AU" sz="1100">
                <a:solidFill>
                  <a:schemeClr val="tx1"/>
                </a:solidFill>
              </a:rPr>
              <a:t>(Readme files, Data dictionaries, package versions)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7BB3BF1-E7C6-48B2-9B22-BFC8FFB79F1A}"/>
              </a:ext>
            </a:extLst>
          </p:cNvPr>
          <p:cNvSpPr/>
          <p:nvPr/>
        </p:nvSpPr>
        <p:spPr>
          <a:xfrm>
            <a:off x="764133" y="3159631"/>
            <a:ext cx="2335091" cy="6139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Model specifications in specialized .xlsx templat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4ADAA79-C089-4CBA-B2B4-14CD1F7DEFE8}"/>
              </a:ext>
            </a:extLst>
          </p:cNvPr>
          <p:cNvSpPr/>
          <p:nvPr/>
        </p:nvSpPr>
        <p:spPr>
          <a:xfrm>
            <a:off x="3823232" y="3422369"/>
            <a:ext cx="2277656" cy="4844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Timeseries analysis/plots</a:t>
            </a:r>
            <a:endParaRPr lang="en-AU" sz="11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D387A33-E594-4D6D-B434-AA28F372CF69}"/>
              </a:ext>
            </a:extLst>
          </p:cNvPr>
          <p:cNvSpPr/>
          <p:nvPr/>
        </p:nvSpPr>
        <p:spPr>
          <a:xfrm>
            <a:off x="3833281" y="2856889"/>
            <a:ext cx="2277656" cy="4844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Data collection/process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71DA3DD-65CB-4616-BBBA-1E176B5054B7}"/>
              </a:ext>
            </a:extLst>
          </p:cNvPr>
          <p:cNvSpPr/>
          <p:nvPr/>
        </p:nvSpPr>
        <p:spPr>
          <a:xfrm>
            <a:off x="3833280" y="3987849"/>
            <a:ext cx="2277656" cy="6359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Leveraging </a:t>
            </a:r>
            <a:r>
              <a:rPr lang="en-US" sz="1100" err="1">
                <a:solidFill>
                  <a:schemeClr val="tx1"/>
                </a:solidFill>
              </a:rPr>
              <a:t>tidyverts</a:t>
            </a:r>
            <a:r>
              <a:rPr lang="en-US" sz="1100">
                <a:solidFill>
                  <a:schemeClr val="tx1"/>
                </a:solidFill>
              </a:rPr>
              <a:t> ecosystem</a:t>
            </a:r>
            <a:endParaRPr lang="en-AU" sz="1100">
              <a:solidFill>
                <a:schemeClr val="tx1"/>
              </a:solidFill>
            </a:endParaRPr>
          </a:p>
        </p:txBody>
      </p:sp>
      <p:sp>
        <p:nvSpPr>
          <p:cNvPr id="29" name="Up-down Arrow 36">
            <a:extLst>
              <a:ext uri="{FF2B5EF4-FFF2-40B4-BE49-F238E27FC236}">
                <a16:creationId xmlns:a16="http://schemas.microsoft.com/office/drawing/2014/main" id="{349D9BD9-54B3-402C-913F-5572FA060EE0}"/>
              </a:ext>
            </a:extLst>
          </p:cNvPr>
          <p:cNvSpPr/>
          <p:nvPr/>
        </p:nvSpPr>
        <p:spPr>
          <a:xfrm rot="16200000">
            <a:off x="3323272" y="3094901"/>
            <a:ext cx="302257" cy="450629"/>
          </a:xfrm>
          <a:prstGeom prst="upDownArrow">
            <a:avLst>
              <a:gd name="adj1" fmla="val 33344"/>
              <a:gd name="adj2" fmla="val 4167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34F95CC-D101-404E-B9EB-CEE73C56CC5B}"/>
              </a:ext>
            </a:extLst>
          </p:cNvPr>
          <p:cNvSpPr/>
          <p:nvPr/>
        </p:nvSpPr>
        <p:spPr>
          <a:xfrm>
            <a:off x="853522" y="5505835"/>
            <a:ext cx="5257415" cy="774766"/>
          </a:xfrm>
          <a:prstGeom prst="rect">
            <a:avLst/>
          </a:prstGeom>
          <a:noFill/>
          <a:ln>
            <a:solidFill>
              <a:schemeClr val="bg2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BE119E-3EC2-41CC-B070-964746AAF39A}"/>
              </a:ext>
            </a:extLst>
          </p:cNvPr>
          <p:cNvSpPr/>
          <p:nvPr/>
        </p:nvSpPr>
        <p:spPr>
          <a:xfrm>
            <a:off x="879688" y="5619893"/>
            <a:ext cx="1663563" cy="5588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1200">
                <a:solidFill>
                  <a:schemeClr val="tx1"/>
                </a:solidFill>
              </a:rPr>
              <a:t>.</a:t>
            </a:r>
            <a:r>
              <a:rPr lang="en-AU" sz="1200" err="1">
                <a:solidFill>
                  <a:schemeClr val="tx1"/>
                </a:solidFill>
              </a:rPr>
              <a:t>Rmd</a:t>
            </a:r>
            <a:endParaRPr lang="en-AU" sz="120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E454B4E-B99A-4085-A18E-8918BE138E09}"/>
              </a:ext>
            </a:extLst>
          </p:cNvPr>
          <p:cNvSpPr/>
          <p:nvPr/>
        </p:nvSpPr>
        <p:spPr>
          <a:xfrm>
            <a:off x="2677724" y="5625030"/>
            <a:ext cx="1769438" cy="558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Shin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8B695C0-2C97-4CC3-9153-54EBBC918348}"/>
              </a:ext>
            </a:extLst>
          </p:cNvPr>
          <p:cNvSpPr txBox="1"/>
          <p:nvPr/>
        </p:nvSpPr>
        <p:spPr>
          <a:xfrm>
            <a:off x="853522" y="5103767"/>
            <a:ext cx="268008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00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Communicat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A6E7ED3-E548-40E8-9622-B16BA84F5636}"/>
              </a:ext>
            </a:extLst>
          </p:cNvPr>
          <p:cNvSpPr/>
          <p:nvPr/>
        </p:nvSpPr>
        <p:spPr>
          <a:xfrm>
            <a:off x="4593074" y="5619894"/>
            <a:ext cx="1462236" cy="5588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Tableau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92F75B8-B096-47EA-B577-96C422583543}"/>
              </a:ext>
            </a:extLst>
          </p:cNvPr>
          <p:cNvCxnSpPr>
            <a:cxnSpLocks/>
            <a:stCxn id="21" idx="2"/>
            <a:endCxn id="27" idx="0"/>
          </p:cNvCxnSpPr>
          <p:nvPr/>
        </p:nvCxnSpPr>
        <p:spPr>
          <a:xfrm>
            <a:off x="4972108" y="2613881"/>
            <a:ext cx="1" cy="2430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rrow: Down 36">
            <a:extLst>
              <a:ext uri="{FF2B5EF4-FFF2-40B4-BE49-F238E27FC236}">
                <a16:creationId xmlns:a16="http://schemas.microsoft.com/office/drawing/2014/main" id="{AF195EE7-FF75-4074-B5A5-3DAEF9CF6097}"/>
              </a:ext>
            </a:extLst>
          </p:cNvPr>
          <p:cNvSpPr/>
          <p:nvPr/>
        </p:nvSpPr>
        <p:spPr>
          <a:xfrm>
            <a:off x="1796400" y="4812291"/>
            <a:ext cx="397164" cy="240000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pic>
        <p:nvPicPr>
          <p:cNvPr id="38" name="Picture 37" descr="A blue hexagon with a book title tsibble, the tsibble package hedge&#10;">
            <a:extLst>
              <a:ext uri="{FF2B5EF4-FFF2-40B4-BE49-F238E27FC236}">
                <a16:creationId xmlns:a16="http://schemas.microsoft.com/office/drawing/2014/main" id="{830C1077-ADBB-4A27-8E86-32A0CADF19A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0" t="10245" r="76109" b="47264"/>
          <a:stretch/>
        </p:blipFill>
        <p:spPr>
          <a:xfrm>
            <a:off x="9220546" y="997743"/>
            <a:ext cx="1367431" cy="1467934"/>
          </a:xfrm>
          <a:prstGeom prst="rect">
            <a:avLst/>
          </a:prstGeom>
        </p:spPr>
      </p:pic>
      <p:pic>
        <p:nvPicPr>
          <p:cNvPr id="39" name="Picture 38" descr="A blue hexagon with a book title fable, the fable package hedge&#10;&#10;">
            <a:extLst>
              <a:ext uri="{FF2B5EF4-FFF2-40B4-BE49-F238E27FC236}">
                <a16:creationId xmlns:a16="http://schemas.microsoft.com/office/drawing/2014/main" id="{E11968E1-73CE-49DE-90F9-AC533CBF577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23" t="10245" r="43730" b="47368"/>
          <a:stretch/>
        </p:blipFill>
        <p:spPr>
          <a:xfrm>
            <a:off x="7055189" y="1013907"/>
            <a:ext cx="1238891" cy="1427584"/>
          </a:xfrm>
          <a:prstGeom prst="rect">
            <a:avLst/>
          </a:prstGeom>
        </p:spPr>
      </p:pic>
      <p:pic>
        <p:nvPicPr>
          <p:cNvPr id="10" name="Picture 9" descr="A blue hexagon with a book title feasts, the feasts package hedge&#10;">
            <a:extLst>
              <a:ext uri="{FF2B5EF4-FFF2-40B4-BE49-F238E27FC236}">
                <a16:creationId xmlns:a16="http://schemas.microsoft.com/office/drawing/2014/main" id="{180EAB32-63CA-47E7-AA5E-A1C6ED008F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03" t="11657" r="10680" b="47553"/>
          <a:stretch/>
        </p:blipFill>
        <p:spPr>
          <a:xfrm>
            <a:off x="7055189" y="2583626"/>
            <a:ext cx="1271232" cy="1460927"/>
          </a:xfrm>
          <a:prstGeom prst="rect">
            <a:avLst/>
          </a:prstGeom>
        </p:spPr>
      </p:pic>
      <p:pic>
        <p:nvPicPr>
          <p:cNvPr id="12" name="Picture 11" descr="A blue square containing the Shiny app logo &#10;">
            <a:extLst>
              <a:ext uri="{FF2B5EF4-FFF2-40B4-BE49-F238E27FC236}">
                <a16:creationId xmlns:a16="http://schemas.microsoft.com/office/drawing/2014/main" id="{C5784784-D409-4176-8263-5C8A87F73D7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83" t="9776" r="20273"/>
          <a:stretch/>
        </p:blipFill>
        <p:spPr>
          <a:xfrm>
            <a:off x="9358367" y="2801230"/>
            <a:ext cx="1050790" cy="1177266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F771999C-8D4F-427D-B3AD-7419121D40A1}"/>
              </a:ext>
            </a:extLst>
          </p:cNvPr>
          <p:cNvSpPr/>
          <p:nvPr/>
        </p:nvSpPr>
        <p:spPr>
          <a:xfrm>
            <a:off x="6447033" y="4351530"/>
            <a:ext cx="5246267" cy="43938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2720080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0432-E7CD-4824-A3C9-8CCECB32763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641149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NT.0aS8K98365cEtR.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NT.0aS8K98365cEtR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vTB5QBTs6.Gn771tOv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nADSkwti21ivTndu5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nADSkwti21ivTndu5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NT.0aS8K98365cEtR.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NT.0aS8K98365cEtR.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vTB5QBTs6.Gn771tOv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x7cssiST6C1nxAaPbUaw"/>
</p:tagLst>
</file>

<file path=ppt/theme/theme1.xml><?xml version="1.0" encoding="utf-8"?>
<a:theme xmlns:a="http://schemas.openxmlformats.org/drawingml/2006/main" name="TU Office theme">
  <a:themeElements>
    <a:clrScheme name="TU_corporate_palette">
      <a:dk1>
        <a:srgbClr val="333E48"/>
      </a:dk1>
      <a:lt1>
        <a:sysClr val="window" lastClr="FFFFFF"/>
      </a:lt1>
      <a:dk2>
        <a:srgbClr val="333E48"/>
      </a:dk2>
      <a:lt2>
        <a:srgbClr val="0A4842"/>
      </a:lt2>
      <a:accent1>
        <a:srgbClr val="009D4E"/>
      </a:accent1>
      <a:accent2>
        <a:srgbClr val="0F6D64"/>
      </a:accent2>
      <a:accent3>
        <a:srgbClr val="795F9A"/>
      </a:accent3>
      <a:accent4>
        <a:srgbClr val="0076A9"/>
      </a:accent4>
      <a:accent5>
        <a:srgbClr val="CC007B"/>
      </a:accent5>
      <a:accent6>
        <a:srgbClr val="F38B00"/>
      </a:accent6>
      <a:hlink>
        <a:srgbClr val="009D4E"/>
      </a:hlink>
      <a:folHlink>
        <a:srgbClr val="0F6D64"/>
      </a:folHlink>
    </a:clrScheme>
    <a:fontScheme name="Transurban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E6E6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B6C11A9F-9A8E-5442-9592-DCA8BB7C1387}" vid="{51517202-313B-FB4A-A74C-EDD9C5BEC8CA}"/>
    </a:ext>
  </a:extLst>
</a:theme>
</file>

<file path=ppt/theme/theme2.xml><?xml version="1.0" encoding="utf-8"?>
<a:theme xmlns:a="http://schemas.openxmlformats.org/drawingml/2006/main" name="1_Transurban PowerPoint template">
  <a:themeElements>
    <a:clrScheme name="TU_corporate_palette">
      <a:dk1>
        <a:srgbClr val="333E48"/>
      </a:dk1>
      <a:lt1>
        <a:sysClr val="window" lastClr="FFFFFF"/>
      </a:lt1>
      <a:dk2>
        <a:srgbClr val="333E48"/>
      </a:dk2>
      <a:lt2>
        <a:srgbClr val="0A4842"/>
      </a:lt2>
      <a:accent1>
        <a:srgbClr val="009D4E"/>
      </a:accent1>
      <a:accent2>
        <a:srgbClr val="0F6D64"/>
      </a:accent2>
      <a:accent3>
        <a:srgbClr val="795F9A"/>
      </a:accent3>
      <a:accent4>
        <a:srgbClr val="0076A9"/>
      </a:accent4>
      <a:accent5>
        <a:srgbClr val="CC007B"/>
      </a:accent5>
      <a:accent6>
        <a:srgbClr val="F38B00"/>
      </a:accent6>
      <a:hlink>
        <a:srgbClr val="009D4E"/>
      </a:hlink>
      <a:folHlink>
        <a:srgbClr val="0F6D64"/>
      </a:folHlink>
    </a:clrScheme>
    <a:fontScheme name="Transurban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E6E6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B6C11A9F-9A8E-5442-9592-DCA8BB7C1387}" vid="{9E9883D7-8B9E-CF48-A1B5-04F736BFC7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 Office theme</Template>
  <TotalTime>2361</TotalTime>
  <Words>233</Words>
  <Application>Microsoft Office PowerPoint</Application>
  <PresentationFormat>Widescreen</PresentationFormat>
  <Paragraphs>6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Courier New</vt:lpstr>
      <vt:lpstr>Wingdings 3</vt:lpstr>
      <vt:lpstr>TU Office theme</vt:lpstr>
      <vt:lpstr>1_Transurban PowerPoint template</vt:lpstr>
      <vt:lpstr>think-cell Slide</vt:lpstr>
      <vt:lpstr>Forecasting under COVID:  when simple works - and when it doesn’t </vt:lpstr>
      <vt:lpstr>Forecasting during COVID-19 made us humble</vt:lpstr>
      <vt:lpstr>Our ecosystem was built to efficiently reuse our work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ph Stammel</dc:creator>
  <cp:lastModifiedBy>Maryam Shobeiri Nejad</cp:lastModifiedBy>
  <cp:revision>17</cp:revision>
  <dcterms:created xsi:type="dcterms:W3CDTF">2020-09-29T01:03:20Z</dcterms:created>
  <dcterms:modified xsi:type="dcterms:W3CDTF">2021-06-23T11:16:16Z</dcterms:modified>
</cp:coreProperties>
</file>